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266" r:id="rId2"/>
    <p:sldId id="256" r:id="rId3"/>
    <p:sldId id="257" r:id="rId4"/>
    <p:sldId id="267" r:id="rId5"/>
    <p:sldId id="258" r:id="rId6"/>
    <p:sldId id="259" r:id="rId7"/>
    <p:sldId id="260" r:id="rId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999">
          <p15:clr>
            <a:srgbClr val="A4A3A4"/>
          </p15:clr>
        </p15:guide>
        <p15:guide id="3" orient="horz" pos="3667">
          <p15:clr>
            <a:srgbClr val="A4A3A4"/>
          </p15:clr>
        </p15:guide>
        <p15:guide id="4" pos="2880">
          <p15:clr>
            <a:srgbClr val="A4A3A4"/>
          </p15:clr>
        </p15:guide>
        <p15:guide id="5" pos="192" userDrawn="1">
          <p15:clr>
            <a:srgbClr val="A4A3A4"/>
          </p15:clr>
        </p15:guide>
        <p15:guide id="6" pos="5568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gus Purwanto" initials="AP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9E09"/>
    <a:srgbClr val="0D65AC"/>
    <a:srgbClr val="2A9B18"/>
    <a:srgbClr val="F0B71F"/>
    <a:srgbClr val="CE202A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68" d="100"/>
          <a:sy n="68" d="100"/>
        </p:scale>
        <p:origin x="-283" y="245"/>
      </p:cViewPr>
      <p:guideLst>
        <p:guide orient="horz" pos="2160"/>
        <p:guide orient="horz" pos="999"/>
        <p:guide orient="horz" pos="3667"/>
        <p:guide pos="2880"/>
        <p:guide pos="192"/>
        <p:guide pos="55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9" d="100"/>
          <a:sy n="89" d="100"/>
        </p:scale>
        <p:origin x="91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454724-972D-487E-9084-06D30AE78FA0}" type="datetime1">
              <a:rPr lang="en-US" smtClean="0"/>
              <a:t>10/2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AAAE3-99B7-49B7-9185-439CADD8679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559569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0EDE2C-1422-4DFE-9A22-FF41CC9589AD}" type="datetime1">
              <a:rPr lang="en-US" smtClean="0"/>
              <a:t>10/2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6611E-B935-47DE-996F-C272FBE23AA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740784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1"/>
            <a:ext cx="2057400" cy="365125"/>
          </a:xfrm>
        </p:spPr>
        <p:txBody>
          <a:bodyPr/>
          <a:lstStyle/>
          <a:p>
            <a:fld id="{AACE8A1A-EF06-42BD-8183-7D22FECA910D}" type="slidenum">
              <a:rPr lang="en-US" smtClean="0"/>
              <a:pPr/>
              <a:t>‹N°›</a:t>
            </a:fld>
            <a:r>
              <a:rPr lang="en-US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018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°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97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1"/>
            <a:ext cx="2057400" cy="365125"/>
          </a:xfrm>
        </p:spPr>
        <p:txBody>
          <a:bodyPr/>
          <a:lstStyle/>
          <a:p>
            <a:fld id="{AACE8A1A-EF06-42BD-8183-7D22FECA910D}" type="slidenum">
              <a:rPr lang="en-US" smtClean="0"/>
              <a:pPr/>
              <a:t>‹N°›</a:t>
            </a:fld>
            <a:r>
              <a:rPr lang="en-US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5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grpSp>
          <p:nvGrpSpPr>
            <p:cNvPr id="15" name="Group 1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7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Your footno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8A1A-EF06-42BD-8183-7D22FECA910D}" type="slidenum">
              <a:rPr lang="en-US" smtClean="0"/>
              <a:pPr/>
              <a:t>‹N°›</a:t>
            </a:fld>
            <a:r>
              <a:rPr lang="en-US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98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7.png"/><Relationship Id="rId2" Type="http://schemas.openxmlformats.org/officeDocument/2006/relationships/tags" Target="../tags/tag7.xml"/><Relationship Id="rId16" Type="http://schemas.openxmlformats.org/officeDocument/2006/relationships/image" Target="../media/image6.pn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err="1" smtClean="0"/>
              <a:t>SoftSolutions</a:t>
            </a:r>
            <a:endParaRPr lang="en-US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1</a:t>
            </a:fld>
            <a:r>
              <a:rPr lang="en-US" smtClean="0"/>
              <a:t>|</a:t>
            </a:r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950" cy="372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404407" y="4589585"/>
            <a:ext cx="842724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</a:rPr>
              <a:t>MISE EN PLACE D’UNE SOLUTION </a:t>
            </a:r>
            <a:r>
              <a:rPr lang="fr-FR" sz="3200" dirty="0" smtClean="0">
                <a:solidFill>
                  <a:schemeClr val="bg1"/>
                </a:solidFill>
              </a:rPr>
              <a:t>DECISIONNELLE</a:t>
            </a:r>
          </a:p>
          <a:p>
            <a:pPr algn="ctr"/>
            <a:r>
              <a:rPr lang="fr-FR" sz="3200" dirty="0" smtClean="0">
                <a:solidFill>
                  <a:schemeClr val="bg1"/>
                </a:solidFill>
              </a:rPr>
              <a:t>A </a:t>
            </a:r>
            <a:r>
              <a:rPr lang="fr-FR" sz="3200" dirty="0">
                <a:solidFill>
                  <a:schemeClr val="bg1"/>
                </a:solidFill>
              </a:rPr>
              <a:t>LA RADEEMA 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010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19758"/>
          </a:xfrm>
        </p:spPr>
        <p:txBody>
          <a:bodyPr/>
          <a:lstStyle/>
          <a:p>
            <a:pPr>
              <a:lnSpc>
                <a:spcPct val="80000"/>
              </a:lnSpc>
            </a:pPr>
            <a:endParaRPr lang="fr-FR" dirty="0" smtClean="0"/>
          </a:p>
          <a:p>
            <a:pPr>
              <a:lnSpc>
                <a:spcPct val="80000"/>
              </a:lnSpc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fr-FR" dirty="0" smtClean="0"/>
              <a:t>Plan de Présentation</a:t>
            </a:r>
            <a:endParaRPr lang="en-US" dirty="0"/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19CF00-AE30-45AC-A0F3-222CEA30FB4A}" type="slidenum">
              <a:rPr lang="da-DK" smtClean="0"/>
              <a:pPr>
                <a:defRPr/>
              </a:pPr>
              <a:t>2</a:t>
            </a:fld>
            <a:endParaRPr lang="da-DK"/>
          </a:p>
        </p:txBody>
      </p: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2182813" y="3678238"/>
            <a:ext cx="2349500" cy="1670050"/>
          </a:xfrm>
          <a:prstGeom prst="rect">
            <a:avLst/>
          </a:prstGeom>
          <a:solidFill>
            <a:schemeClr val="bg1">
              <a:lumMod val="95000"/>
              <a:alpha val="7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0" name="Rectangle 28"/>
          <p:cNvSpPr>
            <a:spLocks noChangeArrowheads="1"/>
          </p:cNvSpPr>
          <p:nvPr/>
        </p:nvSpPr>
        <p:spPr bwMode="auto">
          <a:xfrm>
            <a:off x="6402388" y="1943100"/>
            <a:ext cx="2349500" cy="1670050"/>
          </a:xfrm>
          <a:prstGeom prst="rect">
            <a:avLst/>
          </a:prstGeom>
          <a:solidFill>
            <a:schemeClr val="bg1">
              <a:lumMod val="95000"/>
              <a:alpha val="7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1" name="Rectangle 29"/>
          <p:cNvSpPr>
            <a:spLocks noChangeArrowheads="1"/>
          </p:cNvSpPr>
          <p:nvPr/>
        </p:nvSpPr>
        <p:spPr bwMode="auto">
          <a:xfrm>
            <a:off x="4598988" y="1941513"/>
            <a:ext cx="1803400" cy="1670050"/>
          </a:xfrm>
          <a:prstGeom prst="rect">
            <a:avLst/>
          </a:prstGeom>
          <a:solidFill>
            <a:schemeClr val="bg1">
              <a:lumMod val="75000"/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32" name="Rectangle 30"/>
          <p:cNvSpPr>
            <a:spLocks noChangeArrowheads="1"/>
          </p:cNvSpPr>
          <p:nvPr/>
        </p:nvSpPr>
        <p:spPr bwMode="auto">
          <a:xfrm>
            <a:off x="2186704" y="3949700"/>
            <a:ext cx="2349500" cy="1670050"/>
          </a:xfrm>
          <a:prstGeom prst="rect">
            <a:avLst/>
          </a:prstGeom>
          <a:solidFill>
            <a:schemeClr val="bg1">
              <a:lumMod val="95000"/>
              <a:alpha val="7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3" name="Rectangle 31"/>
          <p:cNvSpPr>
            <a:spLocks noChangeArrowheads="1"/>
          </p:cNvSpPr>
          <p:nvPr/>
        </p:nvSpPr>
        <p:spPr bwMode="auto">
          <a:xfrm>
            <a:off x="383304" y="3948113"/>
            <a:ext cx="1803400" cy="1670050"/>
          </a:xfrm>
          <a:prstGeom prst="rect">
            <a:avLst/>
          </a:prstGeom>
          <a:solidFill>
            <a:schemeClr val="bg1">
              <a:lumMod val="75000"/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2182813" y="1944688"/>
            <a:ext cx="2349500" cy="1670050"/>
          </a:xfrm>
          <a:prstGeom prst="rect">
            <a:avLst/>
          </a:prstGeom>
          <a:solidFill>
            <a:schemeClr val="bg1">
              <a:lumMod val="95000"/>
              <a:alpha val="7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379413" y="1943100"/>
            <a:ext cx="1803400" cy="1670050"/>
          </a:xfrm>
          <a:prstGeom prst="rect">
            <a:avLst/>
          </a:prstGeom>
          <a:solidFill>
            <a:schemeClr val="bg1">
              <a:lumMod val="75000"/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37" name="TextBox 10"/>
          <p:cNvSpPr txBox="1">
            <a:spLocks noChangeArrowheads="1"/>
          </p:cNvSpPr>
          <p:nvPr/>
        </p:nvSpPr>
        <p:spPr bwMode="auto">
          <a:xfrm>
            <a:off x="2406650" y="2290763"/>
            <a:ext cx="19288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b="1" dirty="0" err="1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Contexte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 </a:t>
            </a:r>
            <a:r>
              <a:rPr lang="en-US" b="1" dirty="0" err="1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Projet</a:t>
            </a:r>
            <a:endParaRPr lang="en-US" dirty="0">
              <a:solidFill>
                <a:schemeClr val="tx2">
                  <a:lumMod val="75000"/>
                </a:schemeClr>
              </a:solidFill>
              <a:latin typeface="Calibri" charset="0"/>
            </a:endParaRPr>
          </a:p>
        </p:txBody>
      </p:sp>
      <p:sp>
        <p:nvSpPr>
          <p:cNvPr id="41" name="TextBox 10"/>
          <p:cNvSpPr txBox="1">
            <a:spLocks noChangeArrowheads="1"/>
          </p:cNvSpPr>
          <p:nvPr/>
        </p:nvSpPr>
        <p:spPr bwMode="auto">
          <a:xfrm>
            <a:off x="6616700" y="2317750"/>
            <a:ext cx="19558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Macros </a:t>
            </a:r>
            <a:r>
              <a:rPr lang="en-US" b="1" dirty="0" err="1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Fonctionnalit</a:t>
            </a:r>
            <a:r>
              <a:rPr lang="fr-FR" b="1" dirty="0" err="1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és</a:t>
            </a:r>
            <a:endParaRPr lang="en-US" sz="1400" dirty="0">
              <a:solidFill>
                <a:schemeClr val="tx2">
                  <a:lumMod val="75000"/>
                </a:schemeClr>
              </a:solidFill>
              <a:latin typeface="Calibri" charset="0"/>
            </a:endParaRPr>
          </a:p>
          <a:p>
            <a:pPr eaLnBrk="1" hangingPunct="1"/>
            <a:r>
              <a:rPr lang="fr-FR" sz="1200" noProof="1" smtClean="0">
                <a:solidFill>
                  <a:srgbClr val="404040"/>
                </a:solidFill>
                <a:latin typeface="Calibri" charset="0"/>
                <a:cs typeface="Arial" charset="0"/>
              </a:rPr>
              <a:t> </a:t>
            </a:r>
          </a:p>
          <a:p>
            <a:pPr eaLnBrk="1" hangingPunct="1"/>
            <a:r>
              <a:rPr lang="fr-FR" sz="1200" noProof="1" smtClean="0">
                <a:solidFill>
                  <a:srgbClr val="404040"/>
                </a:solidFill>
                <a:latin typeface="Calibri" charset="0"/>
                <a:cs typeface="Arial" charset="0"/>
              </a:rPr>
              <a:t>Referentiel des exigences</a:t>
            </a:r>
            <a:endParaRPr lang="en-US" sz="1200" dirty="0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42" name="TextBox 10"/>
          <p:cNvSpPr txBox="1">
            <a:spLocks noChangeArrowheads="1"/>
          </p:cNvSpPr>
          <p:nvPr/>
        </p:nvSpPr>
        <p:spPr bwMode="auto">
          <a:xfrm>
            <a:off x="2401016" y="4217988"/>
            <a:ext cx="205263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Solution </a:t>
            </a:r>
            <a:r>
              <a:rPr lang="en-US" b="1" dirty="0" err="1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Proposée</a:t>
            </a:r>
            <a:endParaRPr lang="en-US" sz="1200" dirty="0">
              <a:solidFill>
                <a:schemeClr val="tx2">
                  <a:lumMod val="75000"/>
                </a:schemeClr>
              </a:solidFill>
              <a:latin typeface="Calibri" charset="0"/>
            </a:endParaRPr>
          </a:p>
          <a:p>
            <a:pPr eaLnBrk="1" hangingPunct="1"/>
            <a:r>
              <a:rPr lang="fr-FR" sz="1200" noProof="1" smtClean="0">
                <a:solidFill>
                  <a:srgbClr val="404040"/>
                </a:solidFill>
                <a:latin typeface="Calibri" charset="0"/>
                <a:cs typeface="Arial" charset="0"/>
              </a:rPr>
              <a:t>Estiimation de charge</a:t>
            </a:r>
          </a:p>
          <a:p>
            <a:pPr eaLnBrk="1" hangingPunct="1"/>
            <a:r>
              <a:rPr lang="fr-FR" sz="1200" noProof="1" smtClean="0">
                <a:solidFill>
                  <a:srgbClr val="404040"/>
                </a:solidFill>
                <a:latin typeface="Calibri" charset="0"/>
                <a:cs typeface="Arial" charset="0"/>
              </a:rPr>
              <a:t>Planning Projet</a:t>
            </a:r>
          </a:p>
          <a:p>
            <a:pPr eaLnBrk="1" hangingPunct="1"/>
            <a:r>
              <a:rPr lang="fr-FR" sz="1200" noProof="1" smtClean="0">
                <a:solidFill>
                  <a:srgbClr val="404040"/>
                </a:solidFill>
                <a:latin typeface="Calibri" charset="0"/>
                <a:cs typeface="Arial" charset="0"/>
              </a:rPr>
              <a:t>Equipe Projet</a:t>
            </a:r>
            <a:endParaRPr lang="en-US" sz="1200" dirty="0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45" name="Freeform 44"/>
          <p:cNvSpPr>
            <a:spLocks noEditPoints="1"/>
          </p:cNvSpPr>
          <p:nvPr/>
        </p:nvSpPr>
        <p:spPr bwMode="auto">
          <a:xfrm>
            <a:off x="4876119" y="2475618"/>
            <a:ext cx="1219200" cy="738188"/>
          </a:xfrm>
          <a:custGeom>
            <a:avLst/>
            <a:gdLst/>
            <a:ahLst/>
            <a:cxnLst>
              <a:cxn ang="0">
                <a:pos x="452" y="67"/>
              </a:cxn>
              <a:cxn ang="0">
                <a:pos x="452" y="54"/>
              </a:cxn>
              <a:cxn ang="0">
                <a:pos x="448" y="33"/>
              </a:cxn>
              <a:cxn ang="0">
                <a:pos x="435" y="15"/>
              </a:cxn>
              <a:cxn ang="0">
                <a:pos x="416" y="4"/>
              </a:cxn>
              <a:cxn ang="0">
                <a:pos x="392" y="0"/>
              </a:cxn>
              <a:cxn ang="0">
                <a:pos x="185" y="0"/>
              </a:cxn>
              <a:cxn ang="0">
                <a:pos x="161" y="4"/>
              </a:cxn>
              <a:cxn ang="0">
                <a:pos x="143" y="15"/>
              </a:cxn>
              <a:cxn ang="0">
                <a:pos x="130" y="33"/>
              </a:cxn>
              <a:cxn ang="0">
                <a:pos x="125" y="54"/>
              </a:cxn>
              <a:cxn ang="0">
                <a:pos x="125" y="162"/>
              </a:cxn>
              <a:cxn ang="0">
                <a:pos x="125" y="639"/>
              </a:cxn>
              <a:cxn ang="0">
                <a:pos x="130" y="659"/>
              </a:cxn>
              <a:cxn ang="0">
                <a:pos x="143" y="678"/>
              </a:cxn>
              <a:cxn ang="0">
                <a:pos x="161" y="689"/>
              </a:cxn>
              <a:cxn ang="0">
                <a:pos x="185" y="693"/>
              </a:cxn>
              <a:cxn ang="0">
                <a:pos x="1086" y="693"/>
              </a:cxn>
              <a:cxn ang="0">
                <a:pos x="1108" y="689"/>
              </a:cxn>
              <a:cxn ang="0">
                <a:pos x="1127" y="678"/>
              </a:cxn>
              <a:cxn ang="0">
                <a:pos x="1140" y="659"/>
              </a:cxn>
              <a:cxn ang="0">
                <a:pos x="1145" y="639"/>
              </a:cxn>
              <a:cxn ang="0">
                <a:pos x="1145" y="122"/>
              </a:cxn>
              <a:cxn ang="0">
                <a:pos x="1140" y="100"/>
              </a:cxn>
              <a:cxn ang="0">
                <a:pos x="1127" y="84"/>
              </a:cxn>
              <a:cxn ang="0">
                <a:pos x="1108" y="71"/>
              </a:cxn>
              <a:cxn ang="0">
                <a:pos x="1086" y="67"/>
              </a:cxn>
              <a:cxn ang="0">
                <a:pos x="8" y="153"/>
              </a:cxn>
              <a:cxn ang="0">
                <a:pos x="4" y="165"/>
              </a:cxn>
              <a:cxn ang="0">
                <a:pos x="0" y="192"/>
              </a:cxn>
              <a:cxn ang="0">
                <a:pos x="1" y="241"/>
              </a:cxn>
              <a:cxn ang="0">
                <a:pos x="10" y="317"/>
              </a:cxn>
              <a:cxn ang="0">
                <a:pos x="28" y="400"/>
              </a:cxn>
              <a:cxn ang="0">
                <a:pos x="61" y="516"/>
              </a:cxn>
              <a:cxn ang="0">
                <a:pos x="101" y="640"/>
              </a:cxn>
              <a:cxn ang="0">
                <a:pos x="101" y="76"/>
              </a:cxn>
              <a:cxn ang="0">
                <a:pos x="58" y="104"/>
              </a:cxn>
              <a:cxn ang="0">
                <a:pos x="27" y="129"/>
              </a:cxn>
              <a:cxn ang="0">
                <a:pos x="10" y="148"/>
              </a:cxn>
              <a:cxn ang="0">
                <a:pos x="8" y="153"/>
              </a:cxn>
            </a:cxnLst>
            <a:rect l="0" t="0" r="r" b="b"/>
            <a:pathLst>
              <a:path w="1145" h="693">
                <a:moveTo>
                  <a:pt x="1086" y="67"/>
                </a:moveTo>
                <a:lnTo>
                  <a:pt x="452" y="67"/>
                </a:lnTo>
                <a:lnTo>
                  <a:pt x="452" y="54"/>
                </a:lnTo>
                <a:lnTo>
                  <a:pt x="452" y="54"/>
                </a:lnTo>
                <a:lnTo>
                  <a:pt x="451" y="44"/>
                </a:lnTo>
                <a:lnTo>
                  <a:pt x="448" y="33"/>
                </a:lnTo>
                <a:lnTo>
                  <a:pt x="441" y="24"/>
                </a:lnTo>
                <a:lnTo>
                  <a:pt x="435" y="15"/>
                </a:lnTo>
                <a:lnTo>
                  <a:pt x="426" y="9"/>
                </a:lnTo>
                <a:lnTo>
                  <a:pt x="416" y="4"/>
                </a:lnTo>
                <a:lnTo>
                  <a:pt x="404" y="1"/>
                </a:lnTo>
                <a:lnTo>
                  <a:pt x="392" y="0"/>
                </a:lnTo>
                <a:lnTo>
                  <a:pt x="185" y="0"/>
                </a:lnTo>
                <a:lnTo>
                  <a:pt x="185" y="0"/>
                </a:lnTo>
                <a:lnTo>
                  <a:pt x="173" y="1"/>
                </a:lnTo>
                <a:lnTo>
                  <a:pt x="161" y="4"/>
                </a:lnTo>
                <a:lnTo>
                  <a:pt x="152" y="9"/>
                </a:lnTo>
                <a:lnTo>
                  <a:pt x="143" y="15"/>
                </a:lnTo>
                <a:lnTo>
                  <a:pt x="136" y="24"/>
                </a:lnTo>
                <a:lnTo>
                  <a:pt x="130" y="33"/>
                </a:lnTo>
                <a:lnTo>
                  <a:pt x="127" y="44"/>
                </a:lnTo>
                <a:lnTo>
                  <a:pt x="125" y="54"/>
                </a:lnTo>
                <a:lnTo>
                  <a:pt x="125" y="122"/>
                </a:lnTo>
                <a:lnTo>
                  <a:pt x="125" y="162"/>
                </a:lnTo>
                <a:lnTo>
                  <a:pt x="125" y="639"/>
                </a:lnTo>
                <a:lnTo>
                  <a:pt x="125" y="639"/>
                </a:lnTo>
                <a:lnTo>
                  <a:pt x="127" y="649"/>
                </a:lnTo>
                <a:lnTo>
                  <a:pt x="130" y="659"/>
                </a:lnTo>
                <a:lnTo>
                  <a:pt x="136" y="670"/>
                </a:lnTo>
                <a:lnTo>
                  <a:pt x="143" y="678"/>
                </a:lnTo>
                <a:lnTo>
                  <a:pt x="152" y="684"/>
                </a:lnTo>
                <a:lnTo>
                  <a:pt x="161" y="689"/>
                </a:lnTo>
                <a:lnTo>
                  <a:pt x="173" y="692"/>
                </a:lnTo>
                <a:lnTo>
                  <a:pt x="185" y="693"/>
                </a:lnTo>
                <a:lnTo>
                  <a:pt x="1086" y="693"/>
                </a:lnTo>
                <a:lnTo>
                  <a:pt x="1086" y="693"/>
                </a:lnTo>
                <a:lnTo>
                  <a:pt x="1097" y="692"/>
                </a:lnTo>
                <a:lnTo>
                  <a:pt x="1108" y="689"/>
                </a:lnTo>
                <a:lnTo>
                  <a:pt x="1118" y="684"/>
                </a:lnTo>
                <a:lnTo>
                  <a:pt x="1127" y="678"/>
                </a:lnTo>
                <a:lnTo>
                  <a:pt x="1135" y="670"/>
                </a:lnTo>
                <a:lnTo>
                  <a:pt x="1140" y="659"/>
                </a:lnTo>
                <a:lnTo>
                  <a:pt x="1144" y="649"/>
                </a:lnTo>
                <a:lnTo>
                  <a:pt x="1145" y="639"/>
                </a:lnTo>
                <a:lnTo>
                  <a:pt x="1145" y="122"/>
                </a:lnTo>
                <a:lnTo>
                  <a:pt x="1145" y="122"/>
                </a:lnTo>
                <a:lnTo>
                  <a:pt x="1144" y="111"/>
                </a:lnTo>
                <a:lnTo>
                  <a:pt x="1140" y="100"/>
                </a:lnTo>
                <a:lnTo>
                  <a:pt x="1135" y="91"/>
                </a:lnTo>
                <a:lnTo>
                  <a:pt x="1127" y="84"/>
                </a:lnTo>
                <a:lnTo>
                  <a:pt x="1118" y="76"/>
                </a:lnTo>
                <a:lnTo>
                  <a:pt x="1108" y="71"/>
                </a:lnTo>
                <a:lnTo>
                  <a:pt x="1097" y="68"/>
                </a:lnTo>
                <a:lnTo>
                  <a:pt x="1086" y="67"/>
                </a:lnTo>
                <a:lnTo>
                  <a:pt x="1086" y="67"/>
                </a:lnTo>
                <a:close/>
                <a:moveTo>
                  <a:pt x="8" y="153"/>
                </a:moveTo>
                <a:lnTo>
                  <a:pt x="8" y="153"/>
                </a:lnTo>
                <a:lnTo>
                  <a:pt x="4" y="165"/>
                </a:lnTo>
                <a:lnTo>
                  <a:pt x="1" y="178"/>
                </a:lnTo>
                <a:lnTo>
                  <a:pt x="0" y="192"/>
                </a:lnTo>
                <a:lnTo>
                  <a:pt x="0" y="208"/>
                </a:lnTo>
                <a:lnTo>
                  <a:pt x="1" y="241"/>
                </a:lnTo>
                <a:lnTo>
                  <a:pt x="5" y="279"/>
                </a:lnTo>
                <a:lnTo>
                  <a:pt x="10" y="317"/>
                </a:lnTo>
                <a:lnTo>
                  <a:pt x="19" y="359"/>
                </a:lnTo>
                <a:lnTo>
                  <a:pt x="28" y="400"/>
                </a:lnTo>
                <a:lnTo>
                  <a:pt x="39" y="440"/>
                </a:lnTo>
                <a:lnTo>
                  <a:pt x="61" y="516"/>
                </a:lnTo>
                <a:lnTo>
                  <a:pt x="81" y="579"/>
                </a:lnTo>
                <a:lnTo>
                  <a:pt x="101" y="640"/>
                </a:lnTo>
                <a:lnTo>
                  <a:pt x="101" y="76"/>
                </a:lnTo>
                <a:lnTo>
                  <a:pt x="101" y="76"/>
                </a:lnTo>
                <a:lnTo>
                  <a:pt x="88" y="85"/>
                </a:lnTo>
                <a:lnTo>
                  <a:pt x="58" y="104"/>
                </a:lnTo>
                <a:lnTo>
                  <a:pt x="41" y="116"/>
                </a:lnTo>
                <a:lnTo>
                  <a:pt x="27" y="129"/>
                </a:lnTo>
                <a:lnTo>
                  <a:pt x="14" y="142"/>
                </a:lnTo>
                <a:lnTo>
                  <a:pt x="10" y="148"/>
                </a:lnTo>
                <a:lnTo>
                  <a:pt x="8" y="153"/>
                </a:lnTo>
                <a:lnTo>
                  <a:pt x="8" y="153"/>
                </a:lnTo>
                <a:close/>
              </a:path>
            </a:pathLst>
          </a:custGeom>
          <a:solidFill>
            <a:srgbClr val="1B8A0A"/>
          </a:solidFill>
          <a:ln w="6350" cap="flat" cmpd="sng" algn="ctr">
            <a:noFill/>
            <a:prstDash val="solid"/>
          </a:ln>
          <a:effectLst>
            <a:innerShdw blurRad="63500" dist="50800" dir="13500000">
              <a:srgbClr val="000000">
                <a:alpha val="27000"/>
              </a:srgbClr>
            </a:innerShdw>
            <a:reflection stA="15000" endPos="45000" dist="12700" dir="5400000" sy="-100000" algn="bl" rotWithShape="0"/>
          </a:effectLst>
        </p:spPr>
        <p:txBody>
          <a:bodyPr anchor="ctr"/>
          <a:lstStyle/>
          <a:p>
            <a:pPr marL="342900" indent="-342900" algn="ctr">
              <a:buFont typeface="Calibri" charset="0"/>
              <a:buAutoNum type="arabicPeriod"/>
              <a:defRPr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ＭＳ Ｐゴシック" charset="-128"/>
              <a:cs typeface="+mn-cs"/>
            </a:endParaRPr>
          </a:p>
        </p:txBody>
      </p:sp>
      <p:grpSp>
        <p:nvGrpSpPr>
          <p:cNvPr id="46" name="Group 5"/>
          <p:cNvGrpSpPr>
            <a:grpSpLocks/>
          </p:cNvGrpSpPr>
          <p:nvPr/>
        </p:nvGrpSpPr>
        <p:grpSpPr bwMode="auto">
          <a:xfrm>
            <a:off x="696947" y="4308490"/>
            <a:ext cx="1146175" cy="857250"/>
            <a:chOff x="7100376" y="1586029"/>
            <a:chExt cx="1146204" cy="856871"/>
          </a:xfrm>
          <a:solidFill>
            <a:srgbClr val="F0B71F"/>
          </a:solidFill>
        </p:grpSpPr>
        <p:sp>
          <p:nvSpPr>
            <p:cNvPr id="47" name="Freeform 18"/>
            <p:cNvSpPr>
              <a:spLocks noEditPoints="1"/>
            </p:cNvSpPr>
            <p:nvPr/>
          </p:nvSpPr>
          <p:spPr bwMode="auto">
            <a:xfrm>
              <a:off x="7848107" y="1586029"/>
              <a:ext cx="398473" cy="856871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70" y="1"/>
                </a:cxn>
                <a:cxn ang="0">
                  <a:pos x="46" y="6"/>
                </a:cxn>
                <a:cxn ang="0">
                  <a:pos x="22" y="23"/>
                </a:cxn>
                <a:cxn ang="0">
                  <a:pos x="5" y="47"/>
                </a:cxn>
                <a:cxn ang="0">
                  <a:pos x="0" y="69"/>
                </a:cxn>
                <a:cxn ang="0">
                  <a:pos x="0" y="1164"/>
                </a:cxn>
                <a:cxn ang="0">
                  <a:pos x="0" y="1172"/>
                </a:cxn>
                <a:cxn ang="0">
                  <a:pos x="5" y="1194"/>
                </a:cxn>
                <a:cxn ang="0">
                  <a:pos x="22" y="1218"/>
                </a:cxn>
                <a:cxn ang="0">
                  <a:pos x="46" y="1235"/>
                </a:cxn>
                <a:cxn ang="0">
                  <a:pos x="70" y="1242"/>
                </a:cxn>
                <a:cxn ang="0">
                  <a:pos x="499" y="1242"/>
                </a:cxn>
                <a:cxn ang="0">
                  <a:pos x="507" y="1242"/>
                </a:cxn>
                <a:cxn ang="0">
                  <a:pos x="529" y="1235"/>
                </a:cxn>
                <a:cxn ang="0">
                  <a:pos x="554" y="1218"/>
                </a:cxn>
                <a:cxn ang="0">
                  <a:pos x="570" y="1194"/>
                </a:cxn>
                <a:cxn ang="0">
                  <a:pos x="576" y="1172"/>
                </a:cxn>
                <a:cxn ang="0">
                  <a:pos x="577" y="77"/>
                </a:cxn>
                <a:cxn ang="0">
                  <a:pos x="576" y="69"/>
                </a:cxn>
                <a:cxn ang="0">
                  <a:pos x="570" y="47"/>
                </a:cxn>
                <a:cxn ang="0">
                  <a:pos x="554" y="23"/>
                </a:cxn>
                <a:cxn ang="0">
                  <a:pos x="529" y="6"/>
                </a:cxn>
                <a:cxn ang="0">
                  <a:pos x="507" y="1"/>
                </a:cxn>
                <a:cxn ang="0">
                  <a:pos x="499" y="0"/>
                </a:cxn>
                <a:cxn ang="0">
                  <a:pos x="76" y="222"/>
                </a:cxn>
                <a:cxn ang="0">
                  <a:pos x="488" y="265"/>
                </a:cxn>
                <a:cxn ang="0">
                  <a:pos x="164" y="378"/>
                </a:cxn>
                <a:cxn ang="0">
                  <a:pos x="164" y="386"/>
                </a:cxn>
                <a:cxn ang="0">
                  <a:pos x="159" y="398"/>
                </a:cxn>
                <a:cxn ang="0">
                  <a:pos x="148" y="408"/>
                </a:cxn>
                <a:cxn ang="0">
                  <a:pos x="135" y="414"/>
                </a:cxn>
                <a:cxn ang="0">
                  <a:pos x="129" y="414"/>
                </a:cxn>
                <a:cxn ang="0">
                  <a:pos x="115" y="411"/>
                </a:cxn>
                <a:cxn ang="0">
                  <a:pos x="103" y="404"/>
                </a:cxn>
                <a:cxn ang="0">
                  <a:pos x="95" y="392"/>
                </a:cxn>
                <a:cxn ang="0">
                  <a:pos x="93" y="378"/>
                </a:cxn>
                <a:cxn ang="0">
                  <a:pos x="94" y="371"/>
                </a:cxn>
                <a:cxn ang="0">
                  <a:pos x="99" y="358"/>
                </a:cxn>
                <a:cxn ang="0">
                  <a:pos x="108" y="348"/>
                </a:cxn>
                <a:cxn ang="0">
                  <a:pos x="121" y="343"/>
                </a:cxn>
                <a:cxn ang="0">
                  <a:pos x="129" y="343"/>
                </a:cxn>
                <a:cxn ang="0">
                  <a:pos x="142" y="346"/>
                </a:cxn>
                <a:cxn ang="0">
                  <a:pos x="153" y="353"/>
                </a:cxn>
                <a:cxn ang="0">
                  <a:pos x="161" y="365"/>
                </a:cxn>
                <a:cxn ang="0">
                  <a:pos x="164" y="378"/>
                </a:cxn>
                <a:cxn ang="0">
                  <a:pos x="499" y="1045"/>
                </a:cxn>
                <a:cxn ang="0">
                  <a:pos x="88" y="1001"/>
                </a:cxn>
                <a:cxn ang="0">
                  <a:pos x="499" y="1045"/>
                </a:cxn>
                <a:cxn ang="0">
                  <a:pos x="88" y="952"/>
                </a:cxn>
                <a:cxn ang="0">
                  <a:pos x="499" y="908"/>
                </a:cxn>
                <a:cxn ang="0">
                  <a:pos x="499" y="859"/>
                </a:cxn>
                <a:cxn ang="0">
                  <a:pos x="88" y="815"/>
                </a:cxn>
                <a:cxn ang="0">
                  <a:pos x="499" y="859"/>
                </a:cxn>
              </a:cxnLst>
              <a:rect l="0" t="0" r="r" b="b"/>
              <a:pathLst>
                <a:path w="577" h="1242">
                  <a:moveTo>
                    <a:pt x="499" y="0"/>
                  </a:moveTo>
                  <a:lnTo>
                    <a:pt x="77" y="0"/>
                  </a:lnTo>
                  <a:lnTo>
                    <a:pt x="77" y="0"/>
                  </a:lnTo>
                  <a:lnTo>
                    <a:pt x="70" y="1"/>
                  </a:lnTo>
                  <a:lnTo>
                    <a:pt x="62" y="1"/>
                  </a:lnTo>
                  <a:lnTo>
                    <a:pt x="46" y="6"/>
                  </a:lnTo>
                  <a:lnTo>
                    <a:pt x="33" y="12"/>
                  </a:lnTo>
                  <a:lnTo>
                    <a:pt x="22" y="23"/>
                  </a:lnTo>
                  <a:lnTo>
                    <a:pt x="13" y="34"/>
                  </a:lnTo>
                  <a:lnTo>
                    <a:pt x="5" y="47"/>
                  </a:lnTo>
                  <a:lnTo>
                    <a:pt x="1" y="62"/>
                  </a:lnTo>
                  <a:lnTo>
                    <a:pt x="0" y="69"/>
                  </a:lnTo>
                  <a:lnTo>
                    <a:pt x="0" y="77"/>
                  </a:lnTo>
                  <a:lnTo>
                    <a:pt x="0" y="1164"/>
                  </a:lnTo>
                  <a:lnTo>
                    <a:pt x="0" y="1164"/>
                  </a:lnTo>
                  <a:lnTo>
                    <a:pt x="0" y="1172"/>
                  </a:lnTo>
                  <a:lnTo>
                    <a:pt x="1" y="1180"/>
                  </a:lnTo>
                  <a:lnTo>
                    <a:pt x="5" y="1194"/>
                  </a:lnTo>
                  <a:lnTo>
                    <a:pt x="13" y="1207"/>
                  </a:lnTo>
                  <a:lnTo>
                    <a:pt x="22" y="1218"/>
                  </a:lnTo>
                  <a:lnTo>
                    <a:pt x="33" y="1229"/>
                  </a:lnTo>
                  <a:lnTo>
                    <a:pt x="46" y="1235"/>
                  </a:lnTo>
                  <a:lnTo>
                    <a:pt x="62" y="1240"/>
                  </a:lnTo>
                  <a:lnTo>
                    <a:pt x="70" y="1242"/>
                  </a:lnTo>
                  <a:lnTo>
                    <a:pt x="77" y="1242"/>
                  </a:lnTo>
                  <a:lnTo>
                    <a:pt x="499" y="1242"/>
                  </a:lnTo>
                  <a:lnTo>
                    <a:pt x="499" y="1242"/>
                  </a:lnTo>
                  <a:lnTo>
                    <a:pt x="507" y="1242"/>
                  </a:lnTo>
                  <a:lnTo>
                    <a:pt x="515" y="1240"/>
                  </a:lnTo>
                  <a:lnTo>
                    <a:pt x="529" y="1235"/>
                  </a:lnTo>
                  <a:lnTo>
                    <a:pt x="542" y="1229"/>
                  </a:lnTo>
                  <a:lnTo>
                    <a:pt x="554" y="1218"/>
                  </a:lnTo>
                  <a:lnTo>
                    <a:pt x="563" y="1207"/>
                  </a:lnTo>
                  <a:lnTo>
                    <a:pt x="570" y="1194"/>
                  </a:lnTo>
                  <a:lnTo>
                    <a:pt x="574" y="1180"/>
                  </a:lnTo>
                  <a:lnTo>
                    <a:pt x="576" y="1172"/>
                  </a:lnTo>
                  <a:lnTo>
                    <a:pt x="577" y="1164"/>
                  </a:lnTo>
                  <a:lnTo>
                    <a:pt x="577" y="77"/>
                  </a:lnTo>
                  <a:lnTo>
                    <a:pt x="577" y="77"/>
                  </a:lnTo>
                  <a:lnTo>
                    <a:pt x="576" y="69"/>
                  </a:lnTo>
                  <a:lnTo>
                    <a:pt x="574" y="62"/>
                  </a:lnTo>
                  <a:lnTo>
                    <a:pt x="570" y="47"/>
                  </a:lnTo>
                  <a:lnTo>
                    <a:pt x="563" y="34"/>
                  </a:lnTo>
                  <a:lnTo>
                    <a:pt x="554" y="23"/>
                  </a:lnTo>
                  <a:lnTo>
                    <a:pt x="542" y="12"/>
                  </a:lnTo>
                  <a:lnTo>
                    <a:pt x="529" y="6"/>
                  </a:lnTo>
                  <a:lnTo>
                    <a:pt x="515" y="1"/>
                  </a:lnTo>
                  <a:lnTo>
                    <a:pt x="507" y="1"/>
                  </a:lnTo>
                  <a:lnTo>
                    <a:pt x="499" y="0"/>
                  </a:lnTo>
                  <a:lnTo>
                    <a:pt x="499" y="0"/>
                  </a:lnTo>
                  <a:close/>
                  <a:moveTo>
                    <a:pt x="76" y="265"/>
                  </a:moveTo>
                  <a:lnTo>
                    <a:pt x="76" y="222"/>
                  </a:lnTo>
                  <a:lnTo>
                    <a:pt x="488" y="222"/>
                  </a:lnTo>
                  <a:lnTo>
                    <a:pt x="488" y="265"/>
                  </a:lnTo>
                  <a:lnTo>
                    <a:pt x="76" y="265"/>
                  </a:lnTo>
                  <a:close/>
                  <a:moveTo>
                    <a:pt x="164" y="378"/>
                  </a:moveTo>
                  <a:lnTo>
                    <a:pt x="164" y="378"/>
                  </a:lnTo>
                  <a:lnTo>
                    <a:pt x="164" y="386"/>
                  </a:lnTo>
                  <a:lnTo>
                    <a:pt x="161" y="392"/>
                  </a:lnTo>
                  <a:lnTo>
                    <a:pt x="159" y="398"/>
                  </a:lnTo>
                  <a:lnTo>
                    <a:pt x="153" y="404"/>
                  </a:lnTo>
                  <a:lnTo>
                    <a:pt x="148" y="408"/>
                  </a:lnTo>
                  <a:lnTo>
                    <a:pt x="142" y="411"/>
                  </a:lnTo>
                  <a:lnTo>
                    <a:pt x="135" y="414"/>
                  </a:lnTo>
                  <a:lnTo>
                    <a:pt x="129" y="414"/>
                  </a:lnTo>
                  <a:lnTo>
                    <a:pt x="129" y="414"/>
                  </a:lnTo>
                  <a:lnTo>
                    <a:pt x="121" y="414"/>
                  </a:lnTo>
                  <a:lnTo>
                    <a:pt x="115" y="411"/>
                  </a:lnTo>
                  <a:lnTo>
                    <a:pt x="108" y="408"/>
                  </a:lnTo>
                  <a:lnTo>
                    <a:pt x="103" y="404"/>
                  </a:lnTo>
                  <a:lnTo>
                    <a:pt x="99" y="398"/>
                  </a:lnTo>
                  <a:lnTo>
                    <a:pt x="95" y="392"/>
                  </a:lnTo>
                  <a:lnTo>
                    <a:pt x="94" y="386"/>
                  </a:lnTo>
                  <a:lnTo>
                    <a:pt x="93" y="378"/>
                  </a:lnTo>
                  <a:lnTo>
                    <a:pt x="93" y="378"/>
                  </a:lnTo>
                  <a:lnTo>
                    <a:pt x="94" y="371"/>
                  </a:lnTo>
                  <a:lnTo>
                    <a:pt x="95" y="365"/>
                  </a:lnTo>
                  <a:lnTo>
                    <a:pt x="99" y="358"/>
                  </a:lnTo>
                  <a:lnTo>
                    <a:pt x="103" y="353"/>
                  </a:lnTo>
                  <a:lnTo>
                    <a:pt x="108" y="348"/>
                  </a:lnTo>
                  <a:lnTo>
                    <a:pt x="115" y="346"/>
                  </a:lnTo>
                  <a:lnTo>
                    <a:pt x="121" y="343"/>
                  </a:lnTo>
                  <a:lnTo>
                    <a:pt x="129" y="343"/>
                  </a:lnTo>
                  <a:lnTo>
                    <a:pt x="129" y="343"/>
                  </a:lnTo>
                  <a:lnTo>
                    <a:pt x="135" y="343"/>
                  </a:lnTo>
                  <a:lnTo>
                    <a:pt x="142" y="346"/>
                  </a:lnTo>
                  <a:lnTo>
                    <a:pt x="148" y="348"/>
                  </a:lnTo>
                  <a:lnTo>
                    <a:pt x="153" y="353"/>
                  </a:lnTo>
                  <a:lnTo>
                    <a:pt x="159" y="358"/>
                  </a:lnTo>
                  <a:lnTo>
                    <a:pt x="161" y="365"/>
                  </a:lnTo>
                  <a:lnTo>
                    <a:pt x="164" y="371"/>
                  </a:lnTo>
                  <a:lnTo>
                    <a:pt x="164" y="378"/>
                  </a:lnTo>
                  <a:lnTo>
                    <a:pt x="164" y="378"/>
                  </a:lnTo>
                  <a:close/>
                  <a:moveTo>
                    <a:pt x="499" y="1045"/>
                  </a:moveTo>
                  <a:lnTo>
                    <a:pt x="88" y="1045"/>
                  </a:lnTo>
                  <a:lnTo>
                    <a:pt x="88" y="1001"/>
                  </a:lnTo>
                  <a:lnTo>
                    <a:pt x="499" y="1001"/>
                  </a:lnTo>
                  <a:lnTo>
                    <a:pt x="499" y="1045"/>
                  </a:lnTo>
                  <a:close/>
                  <a:moveTo>
                    <a:pt x="499" y="952"/>
                  </a:moveTo>
                  <a:lnTo>
                    <a:pt x="88" y="952"/>
                  </a:lnTo>
                  <a:lnTo>
                    <a:pt x="88" y="908"/>
                  </a:lnTo>
                  <a:lnTo>
                    <a:pt x="499" y="908"/>
                  </a:lnTo>
                  <a:lnTo>
                    <a:pt x="499" y="952"/>
                  </a:lnTo>
                  <a:close/>
                  <a:moveTo>
                    <a:pt x="499" y="859"/>
                  </a:moveTo>
                  <a:lnTo>
                    <a:pt x="88" y="859"/>
                  </a:lnTo>
                  <a:lnTo>
                    <a:pt x="88" y="815"/>
                  </a:lnTo>
                  <a:lnTo>
                    <a:pt x="499" y="815"/>
                  </a:lnTo>
                  <a:lnTo>
                    <a:pt x="499" y="859"/>
                  </a:lnTo>
                  <a:close/>
                </a:path>
              </a:pathLst>
            </a:custGeom>
            <a:grpFill/>
            <a:ln w="6350" cap="flat" cmpd="sng" algn="ctr">
              <a:noFill/>
              <a:prstDash val="solid"/>
            </a:ln>
            <a:effectLst>
              <a:innerShdw blurRad="63500" dist="50800" dir="13500000">
                <a:srgbClr val="000000">
                  <a:alpha val="27000"/>
                </a:srgbClr>
              </a:innerShdw>
              <a:reflection stA="15000" endPos="45000" dist="12700" dir="5400000" sy="-100000" algn="bl" rotWithShape="0"/>
            </a:effectLst>
          </p:spPr>
          <p:txBody>
            <a:bodyPr anchor="ctr"/>
            <a:lstStyle/>
            <a:p>
              <a:pPr marL="342900" indent="-342900" algn="ctr">
                <a:buFont typeface="Calibri" charset="0"/>
                <a:buAutoNum type="arabicPeriod"/>
                <a:defRPr/>
              </a:pP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8" name="Freeform 19"/>
            <p:cNvSpPr>
              <a:spLocks noEditPoints="1"/>
            </p:cNvSpPr>
            <p:nvPr/>
          </p:nvSpPr>
          <p:spPr bwMode="auto">
            <a:xfrm>
              <a:off x="7100376" y="1797073"/>
              <a:ext cx="717568" cy="645827"/>
            </a:xfrm>
            <a:custGeom>
              <a:avLst/>
              <a:gdLst/>
              <a:ahLst/>
              <a:cxnLst>
                <a:cxn ang="0">
                  <a:pos x="141" y="1"/>
                </a:cxn>
                <a:cxn ang="0">
                  <a:pos x="82" y="22"/>
                </a:cxn>
                <a:cxn ang="0">
                  <a:pos x="36" y="67"/>
                </a:cxn>
                <a:cxn ang="0">
                  <a:pos x="8" y="130"/>
                </a:cxn>
                <a:cxn ang="0">
                  <a:pos x="0" y="647"/>
                </a:cxn>
                <a:cxn ang="0">
                  <a:pos x="8" y="702"/>
                </a:cxn>
                <a:cxn ang="0">
                  <a:pos x="36" y="764"/>
                </a:cxn>
                <a:cxn ang="0">
                  <a:pos x="82" y="809"/>
                </a:cxn>
                <a:cxn ang="0">
                  <a:pos x="141" y="831"/>
                </a:cxn>
                <a:cxn ang="0">
                  <a:pos x="342" y="836"/>
                </a:cxn>
                <a:cxn ang="0">
                  <a:pos x="328" y="858"/>
                </a:cxn>
                <a:cxn ang="0">
                  <a:pos x="324" y="879"/>
                </a:cxn>
                <a:cxn ang="0">
                  <a:pos x="338" y="918"/>
                </a:cxn>
                <a:cxn ang="0">
                  <a:pos x="370" y="935"/>
                </a:cxn>
                <a:cxn ang="0">
                  <a:pos x="689" y="931"/>
                </a:cxn>
                <a:cxn ang="0">
                  <a:pos x="714" y="901"/>
                </a:cxn>
                <a:cxn ang="0">
                  <a:pos x="716" y="873"/>
                </a:cxn>
                <a:cxn ang="0">
                  <a:pos x="707" y="845"/>
                </a:cxn>
                <a:cxn ang="0">
                  <a:pos x="884" y="833"/>
                </a:cxn>
                <a:cxn ang="0">
                  <a:pos x="931" y="823"/>
                </a:cxn>
                <a:cxn ang="0">
                  <a:pos x="983" y="790"/>
                </a:cxn>
                <a:cxn ang="0">
                  <a:pos x="1022" y="734"/>
                </a:cxn>
                <a:cxn ang="0">
                  <a:pos x="1040" y="665"/>
                </a:cxn>
                <a:cxn ang="0">
                  <a:pos x="1040" y="166"/>
                </a:cxn>
                <a:cxn ang="0">
                  <a:pos x="1022" y="97"/>
                </a:cxn>
                <a:cxn ang="0">
                  <a:pos x="983" y="42"/>
                </a:cxn>
                <a:cxn ang="0">
                  <a:pos x="931" y="8"/>
                </a:cxn>
                <a:cxn ang="0">
                  <a:pos x="884" y="0"/>
                </a:cxn>
                <a:cxn ang="0">
                  <a:pos x="898" y="782"/>
                </a:cxn>
                <a:cxn ang="0">
                  <a:pos x="882" y="764"/>
                </a:cxn>
                <a:cxn ang="0">
                  <a:pos x="880" y="742"/>
                </a:cxn>
                <a:cxn ang="0">
                  <a:pos x="893" y="720"/>
                </a:cxn>
                <a:cxn ang="0">
                  <a:pos x="910" y="714"/>
                </a:cxn>
                <a:cxn ang="0">
                  <a:pos x="931" y="724"/>
                </a:cxn>
                <a:cxn ang="0">
                  <a:pos x="940" y="750"/>
                </a:cxn>
                <a:cxn ang="0">
                  <a:pos x="934" y="769"/>
                </a:cxn>
                <a:cxn ang="0">
                  <a:pos x="916" y="785"/>
                </a:cxn>
                <a:cxn ang="0">
                  <a:pos x="946" y="560"/>
                </a:cxn>
                <a:cxn ang="0">
                  <a:pos x="936" y="613"/>
                </a:cxn>
                <a:cxn ang="0">
                  <a:pos x="909" y="657"/>
                </a:cxn>
                <a:cxn ang="0">
                  <a:pos x="869" y="685"/>
                </a:cxn>
                <a:cxn ang="0">
                  <a:pos x="818" y="697"/>
                </a:cxn>
                <a:cxn ang="0">
                  <a:pos x="197" y="693"/>
                </a:cxn>
                <a:cxn ang="0">
                  <a:pos x="151" y="674"/>
                </a:cxn>
                <a:cxn ang="0">
                  <a:pos x="117" y="636"/>
                </a:cxn>
                <a:cxn ang="0">
                  <a:pos x="98" y="587"/>
                </a:cxn>
                <a:cxn ang="0">
                  <a:pos x="95" y="221"/>
                </a:cxn>
                <a:cxn ang="0">
                  <a:pos x="104" y="168"/>
                </a:cxn>
                <a:cxn ang="0">
                  <a:pos x="133" y="124"/>
                </a:cxn>
                <a:cxn ang="0">
                  <a:pos x="173" y="94"/>
                </a:cxn>
                <a:cxn ang="0">
                  <a:pos x="223" y="84"/>
                </a:cxn>
                <a:cxn ang="0">
                  <a:pos x="844" y="86"/>
                </a:cxn>
                <a:cxn ang="0">
                  <a:pos x="889" y="107"/>
                </a:cxn>
                <a:cxn ang="0">
                  <a:pos x="924" y="144"/>
                </a:cxn>
                <a:cxn ang="0">
                  <a:pos x="943" y="193"/>
                </a:cxn>
              </a:cxnLst>
              <a:rect l="0" t="0" r="r" b="b"/>
              <a:pathLst>
                <a:path w="1040" h="935">
                  <a:moveTo>
                    <a:pt x="884" y="0"/>
                  </a:moveTo>
                  <a:lnTo>
                    <a:pt x="156" y="0"/>
                  </a:lnTo>
                  <a:lnTo>
                    <a:pt x="156" y="0"/>
                  </a:lnTo>
                  <a:lnTo>
                    <a:pt x="141" y="1"/>
                  </a:lnTo>
                  <a:lnTo>
                    <a:pt x="125" y="4"/>
                  </a:lnTo>
                  <a:lnTo>
                    <a:pt x="110" y="8"/>
                  </a:lnTo>
                  <a:lnTo>
                    <a:pt x="95" y="14"/>
                  </a:lnTo>
                  <a:lnTo>
                    <a:pt x="82" y="22"/>
                  </a:lnTo>
                  <a:lnTo>
                    <a:pt x="70" y="32"/>
                  </a:lnTo>
                  <a:lnTo>
                    <a:pt x="57" y="42"/>
                  </a:lnTo>
                  <a:lnTo>
                    <a:pt x="46" y="54"/>
                  </a:lnTo>
                  <a:lnTo>
                    <a:pt x="36" y="67"/>
                  </a:lnTo>
                  <a:lnTo>
                    <a:pt x="27" y="81"/>
                  </a:lnTo>
                  <a:lnTo>
                    <a:pt x="19" y="97"/>
                  </a:lnTo>
                  <a:lnTo>
                    <a:pt x="13" y="113"/>
                  </a:lnTo>
                  <a:lnTo>
                    <a:pt x="8" y="130"/>
                  </a:lnTo>
                  <a:lnTo>
                    <a:pt x="4" y="148"/>
                  </a:lnTo>
                  <a:lnTo>
                    <a:pt x="1" y="166"/>
                  </a:lnTo>
                  <a:lnTo>
                    <a:pt x="0" y="186"/>
                  </a:lnTo>
                  <a:lnTo>
                    <a:pt x="0" y="647"/>
                  </a:lnTo>
                  <a:lnTo>
                    <a:pt x="0" y="647"/>
                  </a:lnTo>
                  <a:lnTo>
                    <a:pt x="1" y="665"/>
                  </a:lnTo>
                  <a:lnTo>
                    <a:pt x="4" y="684"/>
                  </a:lnTo>
                  <a:lnTo>
                    <a:pt x="8" y="702"/>
                  </a:lnTo>
                  <a:lnTo>
                    <a:pt x="13" y="719"/>
                  </a:lnTo>
                  <a:lnTo>
                    <a:pt x="19" y="734"/>
                  </a:lnTo>
                  <a:lnTo>
                    <a:pt x="27" y="750"/>
                  </a:lnTo>
                  <a:lnTo>
                    <a:pt x="36" y="764"/>
                  </a:lnTo>
                  <a:lnTo>
                    <a:pt x="46" y="778"/>
                  </a:lnTo>
                  <a:lnTo>
                    <a:pt x="57" y="790"/>
                  </a:lnTo>
                  <a:lnTo>
                    <a:pt x="70" y="800"/>
                  </a:lnTo>
                  <a:lnTo>
                    <a:pt x="82" y="809"/>
                  </a:lnTo>
                  <a:lnTo>
                    <a:pt x="95" y="817"/>
                  </a:lnTo>
                  <a:lnTo>
                    <a:pt x="110" y="823"/>
                  </a:lnTo>
                  <a:lnTo>
                    <a:pt x="125" y="829"/>
                  </a:lnTo>
                  <a:lnTo>
                    <a:pt x="141" y="831"/>
                  </a:lnTo>
                  <a:lnTo>
                    <a:pt x="156" y="833"/>
                  </a:lnTo>
                  <a:lnTo>
                    <a:pt x="347" y="833"/>
                  </a:lnTo>
                  <a:lnTo>
                    <a:pt x="347" y="833"/>
                  </a:lnTo>
                  <a:lnTo>
                    <a:pt x="342" y="836"/>
                  </a:lnTo>
                  <a:lnTo>
                    <a:pt x="338" y="840"/>
                  </a:lnTo>
                  <a:lnTo>
                    <a:pt x="334" y="845"/>
                  </a:lnTo>
                  <a:lnTo>
                    <a:pt x="330" y="852"/>
                  </a:lnTo>
                  <a:lnTo>
                    <a:pt x="328" y="858"/>
                  </a:lnTo>
                  <a:lnTo>
                    <a:pt x="326" y="865"/>
                  </a:lnTo>
                  <a:lnTo>
                    <a:pt x="325" y="873"/>
                  </a:lnTo>
                  <a:lnTo>
                    <a:pt x="324" y="879"/>
                  </a:lnTo>
                  <a:lnTo>
                    <a:pt x="324" y="879"/>
                  </a:lnTo>
                  <a:lnTo>
                    <a:pt x="325" y="891"/>
                  </a:lnTo>
                  <a:lnTo>
                    <a:pt x="328" y="901"/>
                  </a:lnTo>
                  <a:lnTo>
                    <a:pt x="333" y="910"/>
                  </a:lnTo>
                  <a:lnTo>
                    <a:pt x="338" y="918"/>
                  </a:lnTo>
                  <a:lnTo>
                    <a:pt x="345" y="925"/>
                  </a:lnTo>
                  <a:lnTo>
                    <a:pt x="352" y="931"/>
                  </a:lnTo>
                  <a:lnTo>
                    <a:pt x="361" y="933"/>
                  </a:lnTo>
                  <a:lnTo>
                    <a:pt x="370" y="935"/>
                  </a:lnTo>
                  <a:lnTo>
                    <a:pt x="671" y="935"/>
                  </a:lnTo>
                  <a:lnTo>
                    <a:pt x="671" y="935"/>
                  </a:lnTo>
                  <a:lnTo>
                    <a:pt x="680" y="933"/>
                  </a:lnTo>
                  <a:lnTo>
                    <a:pt x="689" y="931"/>
                  </a:lnTo>
                  <a:lnTo>
                    <a:pt x="697" y="925"/>
                  </a:lnTo>
                  <a:lnTo>
                    <a:pt x="703" y="918"/>
                  </a:lnTo>
                  <a:lnTo>
                    <a:pt x="709" y="910"/>
                  </a:lnTo>
                  <a:lnTo>
                    <a:pt x="714" y="901"/>
                  </a:lnTo>
                  <a:lnTo>
                    <a:pt x="716" y="891"/>
                  </a:lnTo>
                  <a:lnTo>
                    <a:pt x="716" y="879"/>
                  </a:lnTo>
                  <a:lnTo>
                    <a:pt x="716" y="879"/>
                  </a:lnTo>
                  <a:lnTo>
                    <a:pt x="716" y="873"/>
                  </a:lnTo>
                  <a:lnTo>
                    <a:pt x="715" y="865"/>
                  </a:lnTo>
                  <a:lnTo>
                    <a:pt x="714" y="858"/>
                  </a:lnTo>
                  <a:lnTo>
                    <a:pt x="710" y="852"/>
                  </a:lnTo>
                  <a:lnTo>
                    <a:pt x="707" y="845"/>
                  </a:lnTo>
                  <a:lnTo>
                    <a:pt x="703" y="840"/>
                  </a:lnTo>
                  <a:lnTo>
                    <a:pt x="698" y="836"/>
                  </a:lnTo>
                  <a:lnTo>
                    <a:pt x="694" y="833"/>
                  </a:lnTo>
                  <a:lnTo>
                    <a:pt x="884" y="833"/>
                  </a:lnTo>
                  <a:lnTo>
                    <a:pt x="884" y="833"/>
                  </a:lnTo>
                  <a:lnTo>
                    <a:pt x="901" y="831"/>
                  </a:lnTo>
                  <a:lnTo>
                    <a:pt x="916" y="829"/>
                  </a:lnTo>
                  <a:lnTo>
                    <a:pt x="931" y="823"/>
                  </a:lnTo>
                  <a:lnTo>
                    <a:pt x="946" y="817"/>
                  </a:lnTo>
                  <a:lnTo>
                    <a:pt x="959" y="809"/>
                  </a:lnTo>
                  <a:lnTo>
                    <a:pt x="972" y="800"/>
                  </a:lnTo>
                  <a:lnTo>
                    <a:pt x="983" y="790"/>
                  </a:lnTo>
                  <a:lnTo>
                    <a:pt x="995" y="778"/>
                  </a:lnTo>
                  <a:lnTo>
                    <a:pt x="1005" y="764"/>
                  </a:lnTo>
                  <a:lnTo>
                    <a:pt x="1014" y="750"/>
                  </a:lnTo>
                  <a:lnTo>
                    <a:pt x="1022" y="734"/>
                  </a:lnTo>
                  <a:lnTo>
                    <a:pt x="1029" y="719"/>
                  </a:lnTo>
                  <a:lnTo>
                    <a:pt x="1034" y="702"/>
                  </a:lnTo>
                  <a:lnTo>
                    <a:pt x="1038" y="684"/>
                  </a:lnTo>
                  <a:lnTo>
                    <a:pt x="1040" y="665"/>
                  </a:lnTo>
                  <a:lnTo>
                    <a:pt x="1040" y="647"/>
                  </a:lnTo>
                  <a:lnTo>
                    <a:pt x="1040" y="186"/>
                  </a:lnTo>
                  <a:lnTo>
                    <a:pt x="1040" y="186"/>
                  </a:lnTo>
                  <a:lnTo>
                    <a:pt x="1040" y="166"/>
                  </a:lnTo>
                  <a:lnTo>
                    <a:pt x="1038" y="148"/>
                  </a:lnTo>
                  <a:lnTo>
                    <a:pt x="1034" y="130"/>
                  </a:lnTo>
                  <a:lnTo>
                    <a:pt x="1029" y="113"/>
                  </a:lnTo>
                  <a:lnTo>
                    <a:pt x="1022" y="97"/>
                  </a:lnTo>
                  <a:lnTo>
                    <a:pt x="1014" y="81"/>
                  </a:lnTo>
                  <a:lnTo>
                    <a:pt x="1005" y="67"/>
                  </a:lnTo>
                  <a:lnTo>
                    <a:pt x="995" y="54"/>
                  </a:lnTo>
                  <a:lnTo>
                    <a:pt x="983" y="42"/>
                  </a:lnTo>
                  <a:lnTo>
                    <a:pt x="972" y="32"/>
                  </a:lnTo>
                  <a:lnTo>
                    <a:pt x="959" y="22"/>
                  </a:lnTo>
                  <a:lnTo>
                    <a:pt x="946" y="14"/>
                  </a:lnTo>
                  <a:lnTo>
                    <a:pt x="931" y="8"/>
                  </a:lnTo>
                  <a:lnTo>
                    <a:pt x="916" y="4"/>
                  </a:lnTo>
                  <a:lnTo>
                    <a:pt x="901" y="1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910" y="786"/>
                  </a:moveTo>
                  <a:lnTo>
                    <a:pt x="910" y="786"/>
                  </a:lnTo>
                  <a:lnTo>
                    <a:pt x="903" y="785"/>
                  </a:lnTo>
                  <a:lnTo>
                    <a:pt x="898" y="782"/>
                  </a:lnTo>
                  <a:lnTo>
                    <a:pt x="893" y="780"/>
                  </a:lnTo>
                  <a:lnTo>
                    <a:pt x="888" y="776"/>
                  </a:lnTo>
                  <a:lnTo>
                    <a:pt x="885" y="769"/>
                  </a:lnTo>
                  <a:lnTo>
                    <a:pt x="882" y="764"/>
                  </a:lnTo>
                  <a:lnTo>
                    <a:pt x="880" y="758"/>
                  </a:lnTo>
                  <a:lnTo>
                    <a:pt x="880" y="750"/>
                  </a:lnTo>
                  <a:lnTo>
                    <a:pt x="880" y="750"/>
                  </a:lnTo>
                  <a:lnTo>
                    <a:pt x="880" y="742"/>
                  </a:lnTo>
                  <a:lnTo>
                    <a:pt x="882" y="736"/>
                  </a:lnTo>
                  <a:lnTo>
                    <a:pt x="885" y="729"/>
                  </a:lnTo>
                  <a:lnTo>
                    <a:pt x="888" y="724"/>
                  </a:lnTo>
                  <a:lnTo>
                    <a:pt x="893" y="720"/>
                  </a:lnTo>
                  <a:lnTo>
                    <a:pt x="898" y="716"/>
                  </a:lnTo>
                  <a:lnTo>
                    <a:pt x="903" y="715"/>
                  </a:lnTo>
                  <a:lnTo>
                    <a:pt x="910" y="714"/>
                  </a:lnTo>
                  <a:lnTo>
                    <a:pt x="910" y="714"/>
                  </a:lnTo>
                  <a:lnTo>
                    <a:pt x="916" y="715"/>
                  </a:lnTo>
                  <a:lnTo>
                    <a:pt x="922" y="716"/>
                  </a:lnTo>
                  <a:lnTo>
                    <a:pt x="927" y="720"/>
                  </a:lnTo>
                  <a:lnTo>
                    <a:pt x="931" y="724"/>
                  </a:lnTo>
                  <a:lnTo>
                    <a:pt x="934" y="729"/>
                  </a:lnTo>
                  <a:lnTo>
                    <a:pt x="937" y="736"/>
                  </a:lnTo>
                  <a:lnTo>
                    <a:pt x="940" y="742"/>
                  </a:lnTo>
                  <a:lnTo>
                    <a:pt x="940" y="750"/>
                  </a:lnTo>
                  <a:lnTo>
                    <a:pt x="940" y="750"/>
                  </a:lnTo>
                  <a:lnTo>
                    <a:pt x="940" y="758"/>
                  </a:lnTo>
                  <a:lnTo>
                    <a:pt x="937" y="764"/>
                  </a:lnTo>
                  <a:lnTo>
                    <a:pt x="934" y="769"/>
                  </a:lnTo>
                  <a:lnTo>
                    <a:pt x="931" y="776"/>
                  </a:lnTo>
                  <a:lnTo>
                    <a:pt x="927" y="780"/>
                  </a:lnTo>
                  <a:lnTo>
                    <a:pt x="922" y="782"/>
                  </a:lnTo>
                  <a:lnTo>
                    <a:pt x="916" y="785"/>
                  </a:lnTo>
                  <a:lnTo>
                    <a:pt x="910" y="786"/>
                  </a:lnTo>
                  <a:lnTo>
                    <a:pt x="910" y="786"/>
                  </a:lnTo>
                  <a:close/>
                  <a:moveTo>
                    <a:pt x="946" y="560"/>
                  </a:moveTo>
                  <a:lnTo>
                    <a:pt x="946" y="560"/>
                  </a:lnTo>
                  <a:lnTo>
                    <a:pt x="946" y="573"/>
                  </a:lnTo>
                  <a:lnTo>
                    <a:pt x="943" y="587"/>
                  </a:lnTo>
                  <a:lnTo>
                    <a:pt x="941" y="600"/>
                  </a:lnTo>
                  <a:lnTo>
                    <a:pt x="936" y="613"/>
                  </a:lnTo>
                  <a:lnTo>
                    <a:pt x="931" y="625"/>
                  </a:lnTo>
                  <a:lnTo>
                    <a:pt x="924" y="636"/>
                  </a:lnTo>
                  <a:lnTo>
                    <a:pt x="918" y="647"/>
                  </a:lnTo>
                  <a:lnTo>
                    <a:pt x="909" y="657"/>
                  </a:lnTo>
                  <a:lnTo>
                    <a:pt x="900" y="665"/>
                  </a:lnTo>
                  <a:lnTo>
                    <a:pt x="889" y="674"/>
                  </a:lnTo>
                  <a:lnTo>
                    <a:pt x="879" y="680"/>
                  </a:lnTo>
                  <a:lnTo>
                    <a:pt x="869" y="685"/>
                  </a:lnTo>
                  <a:lnTo>
                    <a:pt x="857" y="691"/>
                  </a:lnTo>
                  <a:lnTo>
                    <a:pt x="844" y="693"/>
                  </a:lnTo>
                  <a:lnTo>
                    <a:pt x="831" y="696"/>
                  </a:lnTo>
                  <a:lnTo>
                    <a:pt x="818" y="697"/>
                  </a:lnTo>
                  <a:lnTo>
                    <a:pt x="223" y="697"/>
                  </a:lnTo>
                  <a:lnTo>
                    <a:pt x="223" y="697"/>
                  </a:lnTo>
                  <a:lnTo>
                    <a:pt x="210" y="696"/>
                  </a:lnTo>
                  <a:lnTo>
                    <a:pt x="197" y="693"/>
                  </a:lnTo>
                  <a:lnTo>
                    <a:pt x="184" y="691"/>
                  </a:lnTo>
                  <a:lnTo>
                    <a:pt x="173" y="685"/>
                  </a:lnTo>
                  <a:lnTo>
                    <a:pt x="162" y="680"/>
                  </a:lnTo>
                  <a:lnTo>
                    <a:pt x="151" y="674"/>
                  </a:lnTo>
                  <a:lnTo>
                    <a:pt x="142" y="665"/>
                  </a:lnTo>
                  <a:lnTo>
                    <a:pt x="133" y="657"/>
                  </a:lnTo>
                  <a:lnTo>
                    <a:pt x="124" y="647"/>
                  </a:lnTo>
                  <a:lnTo>
                    <a:pt x="117" y="636"/>
                  </a:lnTo>
                  <a:lnTo>
                    <a:pt x="111" y="625"/>
                  </a:lnTo>
                  <a:lnTo>
                    <a:pt x="104" y="613"/>
                  </a:lnTo>
                  <a:lnTo>
                    <a:pt x="101" y="600"/>
                  </a:lnTo>
                  <a:lnTo>
                    <a:pt x="98" y="587"/>
                  </a:lnTo>
                  <a:lnTo>
                    <a:pt x="95" y="573"/>
                  </a:lnTo>
                  <a:lnTo>
                    <a:pt x="95" y="560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5" y="206"/>
                  </a:lnTo>
                  <a:lnTo>
                    <a:pt x="98" y="193"/>
                  </a:lnTo>
                  <a:lnTo>
                    <a:pt x="101" y="181"/>
                  </a:lnTo>
                  <a:lnTo>
                    <a:pt x="104" y="168"/>
                  </a:lnTo>
                  <a:lnTo>
                    <a:pt x="111" y="156"/>
                  </a:lnTo>
                  <a:lnTo>
                    <a:pt x="117" y="144"/>
                  </a:lnTo>
                  <a:lnTo>
                    <a:pt x="124" y="134"/>
                  </a:lnTo>
                  <a:lnTo>
                    <a:pt x="133" y="124"/>
                  </a:lnTo>
                  <a:lnTo>
                    <a:pt x="142" y="115"/>
                  </a:lnTo>
                  <a:lnTo>
                    <a:pt x="151" y="107"/>
                  </a:lnTo>
                  <a:lnTo>
                    <a:pt x="162" y="101"/>
                  </a:lnTo>
                  <a:lnTo>
                    <a:pt x="173" y="94"/>
                  </a:lnTo>
                  <a:lnTo>
                    <a:pt x="184" y="90"/>
                  </a:lnTo>
                  <a:lnTo>
                    <a:pt x="197" y="86"/>
                  </a:lnTo>
                  <a:lnTo>
                    <a:pt x="210" y="85"/>
                  </a:lnTo>
                  <a:lnTo>
                    <a:pt x="223" y="84"/>
                  </a:lnTo>
                  <a:lnTo>
                    <a:pt x="818" y="84"/>
                  </a:lnTo>
                  <a:lnTo>
                    <a:pt x="818" y="84"/>
                  </a:lnTo>
                  <a:lnTo>
                    <a:pt x="831" y="85"/>
                  </a:lnTo>
                  <a:lnTo>
                    <a:pt x="844" y="86"/>
                  </a:lnTo>
                  <a:lnTo>
                    <a:pt x="857" y="90"/>
                  </a:lnTo>
                  <a:lnTo>
                    <a:pt x="869" y="94"/>
                  </a:lnTo>
                  <a:lnTo>
                    <a:pt x="879" y="101"/>
                  </a:lnTo>
                  <a:lnTo>
                    <a:pt x="889" y="107"/>
                  </a:lnTo>
                  <a:lnTo>
                    <a:pt x="900" y="115"/>
                  </a:lnTo>
                  <a:lnTo>
                    <a:pt x="909" y="124"/>
                  </a:lnTo>
                  <a:lnTo>
                    <a:pt x="918" y="134"/>
                  </a:lnTo>
                  <a:lnTo>
                    <a:pt x="924" y="144"/>
                  </a:lnTo>
                  <a:lnTo>
                    <a:pt x="931" y="156"/>
                  </a:lnTo>
                  <a:lnTo>
                    <a:pt x="936" y="168"/>
                  </a:lnTo>
                  <a:lnTo>
                    <a:pt x="941" y="181"/>
                  </a:lnTo>
                  <a:lnTo>
                    <a:pt x="943" y="193"/>
                  </a:lnTo>
                  <a:lnTo>
                    <a:pt x="946" y="206"/>
                  </a:lnTo>
                  <a:lnTo>
                    <a:pt x="946" y="221"/>
                  </a:lnTo>
                  <a:lnTo>
                    <a:pt x="946" y="560"/>
                  </a:lnTo>
                  <a:close/>
                </a:path>
              </a:pathLst>
            </a:custGeom>
            <a:grpFill/>
            <a:ln w="6350" cap="flat" cmpd="sng" algn="ctr">
              <a:noFill/>
              <a:prstDash val="solid"/>
            </a:ln>
            <a:effectLst>
              <a:innerShdw blurRad="63500" dist="50800" dir="13500000">
                <a:srgbClr val="000000">
                  <a:alpha val="27000"/>
                </a:srgbClr>
              </a:innerShdw>
              <a:reflection stA="15000" endPos="45000" dist="12700" dir="5400000" sy="-100000" algn="bl" rotWithShape="0"/>
            </a:effectLst>
          </p:spPr>
          <p:txBody>
            <a:bodyPr anchor="ctr"/>
            <a:lstStyle/>
            <a:p>
              <a:pPr marL="342900" indent="-342900" algn="ctr">
                <a:buFont typeface="Calibri" charset="0"/>
                <a:buAutoNum type="arabicPeriod"/>
                <a:defRPr/>
              </a:pP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49" name="Freeform 139"/>
          <p:cNvSpPr>
            <a:spLocks/>
          </p:cNvSpPr>
          <p:nvPr/>
        </p:nvSpPr>
        <p:spPr bwMode="auto">
          <a:xfrm>
            <a:off x="880257" y="2374286"/>
            <a:ext cx="809494" cy="771446"/>
          </a:xfrm>
          <a:custGeom>
            <a:avLst/>
            <a:gdLst>
              <a:gd name="T0" fmla="*/ 812 w 1481"/>
              <a:gd name="T1" fmla="*/ 5 h 1411"/>
              <a:gd name="T2" fmla="*/ 867 w 1481"/>
              <a:gd name="T3" fmla="*/ 22 h 1411"/>
              <a:gd name="T4" fmla="*/ 904 w 1481"/>
              <a:gd name="T5" fmla="*/ 47 h 1411"/>
              <a:gd name="T6" fmla="*/ 955 w 1481"/>
              <a:gd name="T7" fmla="*/ 105 h 1411"/>
              <a:gd name="T8" fmla="*/ 998 w 1481"/>
              <a:gd name="T9" fmla="*/ 169 h 1411"/>
              <a:gd name="T10" fmla="*/ 1023 w 1481"/>
              <a:gd name="T11" fmla="*/ 236 h 1411"/>
              <a:gd name="T12" fmla="*/ 1027 w 1481"/>
              <a:gd name="T13" fmla="*/ 311 h 1411"/>
              <a:gd name="T14" fmla="*/ 1004 w 1481"/>
              <a:gd name="T15" fmla="*/ 463 h 1411"/>
              <a:gd name="T16" fmla="*/ 1027 w 1481"/>
              <a:gd name="T17" fmla="*/ 457 h 1411"/>
              <a:gd name="T18" fmla="*/ 1041 w 1481"/>
              <a:gd name="T19" fmla="*/ 463 h 1411"/>
              <a:gd name="T20" fmla="*/ 1042 w 1481"/>
              <a:gd name="T21" fmla="*/ 502 h 1411"/>
              <a:gd name="T22" fmla="*/ 1019 w 1481"/>
              <a:gd name="T23" fmla="*/ 631 h 1411"/>
              <a:gd name="T24" fmla="*/ 1002 w 1481"/>
              <a:gd name="T25" fmla="*/ 677 h 1411"/>
              <a:gd name="T26" fmla="*/ 978 w 1481"/>
              <a:gd name="T27" fmla="*/ 674 h 1411"/>
              <a:gd name="T28" fmla="*/ 965 w 1481"/>
              <a:gd name="T29" fmla="*/ 746 h 1411"/>
              <a:gd name="T30" fmla="*/ 949 w 1481"/>
              <a:gd name="T31" fmla="*/ 790 h 1411"/>
              <a:gd name="T32" fmla="*/ 912 w 1481"/>
              <a:gd name="T33" fmla="*/ 831 h 1411"/>
              <a:gd name="T34" fmla="*/ 943 w 1481"/>
              <a:gd name="T35" fmla="*/ 866 h 1411"/>
              <a:gd name="T36" fmla="*/ 952 w 1481"/>
              <a:gd name="T37" fmla="*/ 902 h 1411"/>
              <a:gd name="T38" fmla="*/ 975 w 1481"/>
              <a:gd name="T39" fmla="*/ 931 h 1411"/>
              <a:gd name="T40" fmla="*/ 1043 w 1481"/>
              <a:gd name="T41" fmla="*/ 969 h 1411"/>
              <a:gd name="T42" fmla="*/ 1273 w 1481"/>
              <a:gd name="T43" fmla="*/ 1066 h 1411"/>
              <a:gd name="T44" fmla="*/ 1400 w 1481"/>
              <a:gd name="T45" fmla="*/ 1125 h 1411"/>
              <a:gd name="T46" fmla="*/ 1447 w 1481"/>
              <a:gd name="T47" fmla="*/ 1158 h 1411"/>
              <a:gd name="T48" fmla="*/ 1472 w 1481"/>
              <a:gd name="T49" fmla="*/ 1188 h 1411"/>
              <a:gd name="T50" fmla="*/ 1481 w 1481"/>
              <a:gd name="T51" fmla="*/ 1222 h 1411"/>
              <a:gd name="T52" fmla="*/ 1478 w 1481"/>
              <a:gd name="T53" fmla="*/ 1332 h 1411"/>
              <a:gd name="T54" fmla="*/ 740 w 1481"/>
              <a:gd name="T55" fmla="*/ 1411 h 1411"/>
              <a:gd name="T56" fmla="*/ 3 w 1481"/>
              <a:gd name="T57" fmla="*/ 1332 h 1411"/>
              <a:gd name="T58" fmla="*/ 0 w 1481"/>
              <a:gd name="T59" fmla="*/ 1222 h 1411"/>
              <a:gd name="T60" fmla="*/ 9 w 1481"/>
              <a:gd name="T61" fmla="*/ 1188 h 1411"/>
              <a:gd name="T62" fmla="*/ 34 w 1481"/>
              <a:gd name="T63" fmla="*/ 1158 h 1411"/>
              <a:gd name="T64" fmla="*/ 82 w 1481"/>
              <a:gd name="T65" fmla="*/ 1125 h 1411"/>
              <a:gd name="T66" fmla="*/ 207 w 1481"/>
              <a:gd name="T67" fmla="*/ 1066 h 1411"/>
              <a:gd name="T68" fmla="*/ 438 w 1481"/>
              <a:gd name="T69" fmla="*/ 969 h 1411"/>
              <a:gd name="T70" fmla="*/ 506 w 1481"/>
              <a:gd name="T71" fmla="*/ 931 h 1411"/>
              <a:gd name="T72" fmla="*/ 529 w 1481"/>
              <a:gd name="T73" fmla="*/ 902 h 1411"/>
              <a:gd name="T74" fmla="*/ 538 w 1481"/>
              <a:gd name="T75" fmla="*/ 866 h 1411"/>
              <a:gd name="T76" fmla="*/ 569 w 1481"/>
              <a:gd name="T77" fmla="*/ 831 h 1411"/>
              <a:gd name="T78" fmla="*/ 532 w 1481"/>
              <a:gd name="T79" fmla="*/ 790 h 1411"/>
              <a:gd name="T80" fmla="*/ 516 w 1481"/>
              <a:gd name="T81" fmla="*/ 746 h 1411"/>
              <a:gd name="T82" fmla="*/ 503 w 1481"/>
              <a:gd name="T83" fmla="*/ 674 h 1411"/>
              <a:gd name="T84" fmla="*/ 478 w 1481"/>
              <a:gd name="T85" fmla="*/ 677 h 1411"/>
              <a:gd name="T86" fmla="*/ 462 w 1481"/>
              <a:gd name="T87" fmla="*/ 631 h 1411"/>
              <a:gd name="T88" fmla="*/ 439 w 1481"/>
              <a:gd name="T89" fmla="*/ 502 h 1411"/>
              <a:gd name="T90" fmla="*/ 439 w 1481"/>
              <a:gd name="T91" fmla="*/ 466 h 1411"/>
              <a:gd name="T92" fmla="*/ 446 w 1481"/>
              <a:gd name="T93" fmla="*/ 458 h 1411"/>
              <a:gd name="T94" fmla="*/ 466 w 1481"/>
              <a:gd name="T95" fmla="*/ 460 h 1411"/>
              <a:gd name="T96" fmla="*/ 455 w 1481"/>
              <a:gd name="T97" fmla="*/ 431 h 1411"/>
              <a:gd name="T98" fmla="*/ 439 w 1481"/>
              <a:gd name="T99" fmla="*/ 377 h 1411"/>
              <a:gd name="T100" fmla="*/ 437 w 1481"/>
              <a:gd name="T101" fmla="*/ 292 h 1411"/>
              <a:gd name="T102" fmla="*/ 445 w 1481"/>
              <a:gd name="T103" fmla="*/ 200 h 1411"/>
              <a:gd name="T104" fmla="*/ 464 w 1481"/>
              <a:gd name="T105" fmla="*/ 123 h 1411"/>
              <a:gd name="T106" fmla="*/ 484 w 1481"/>
              <a:gd name="T107" fmla="*/ 90 h 1411"/>
              <a:gd name="T108" fmla="*/ 504 w 1481"/>
              <a:gd name="T109" fmla="*/ 76 h 1411"/>
              <a:gd name="T110" fmla="*/ 537 w 1481"/>
              <a:gd name="T111" fmla="*/ 78 h 1411"/>
              <a:gd name="T112" fmla="*/ 577 w 1481"/>
              <a:gd name="T113" fmla="*/ 47 h 1411"/>
              <a:gd name="T114" fmla="*/ 614 w 1481"/>
              <a:gd name="T115" fmla="*/ 22 h 1411"/>
              <a:gd name="T116" fmla="*/ 669 w 1481"/>
              <a:gd name="T117" fmla="*/ 5 h 1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81" h="1411">
                <a:moveTo>
                  <a:pt x="740" y="0"/>
                </a:moveTo>
                <a:lnTo>
                  <a:pt x="764" y="0"/>
                </a:lnTo>
                <a:lnTo>
                  <a:pt x="788" y="2"/>
                </a:lnTo>
                <a:lnTo>
                  <a:pt x="812" y="5"/>
                </a:lnTo>
                <a:lnTo>
                  <a:pt x="835" y="10"/>
                </a:lnTo>
                <a:lnTo>
                  <a:pt x="845" y="13"/>
                </a:lnTo>
                <a:lnTo>
                  <a:pt x="857" y="18"/>
                </a:lnTo>
                <a:lnTo>
                  <a:pt x="867" y="22"/>
                </a:lnTo>
                <a:lnTo>
                  <a:pt x="877" y="28"/>
                </a:lnTo>
                <a:lnTo>
                  <a:pt x="887" y="34"/>
                </a:lnTo>
                <a:lnTo>
                  <a:pt x="896" y="40"/>
                </a:lnTo>
                <a:lnTo>
                  <a:pt x="904" y="47"/>
                </a:lnTo>
                <a:lnTo>
                  <a:pt x="913" y="55"/>
                </a:lnTo>
                <a:lnTo>
                  <a:pt x="928" y="72"/>
                </a:lnTo>
                <a:lnTo>
                  <a:pt x="943" y="89"/>
                </a:lnTo>
                <a:lnTo>
                  <a:pt x="955" y="105"/>
                </a:lnTo>
                <a:lnTo>
                  <a:pt x="967" y="121"/>
                </a:lnTo>
                <a:lnTo>
                  <a:pt x="979" y="136"/>
                </a:lnTo>
                <a:lnTo>
                  <a:pt x="989" y="152"/>
                </a:lnTo>
                <a:lnTo>
                  <a:pt x="998" y="169"/>
                </a:lnTo>
                <a:lnTo>
                  <a:pt x="1006" y="185"/>
                </a:lnTo>
                <a:lnTo>
                  <a:pt x="1013" y="202"/>
                </a:lnTo>
                <a:lnTo>
                  <a:pt x="1018" y="219"/>
                </a:lnTo>
                <a:lnTo>
                  <a:pt x="1023" y="236"/>
                </a:lnTo>
                <a:lnTo>
                  <a:pt x="1026" y="254"/>
                </a:lnTo>
                <a:lnTo>
                  <a:pt x="1028" y="272"/>
                </a:lnTo>
                <a:lnTo>
                  <a:pt x="1028" y="291"/>
                </a:lnTo>
                <a:lnTo>
                  <a:pt x="1027" y="311"/>
                </a:lnTo>
                <a:lnTo>
                  <a:pt x="1026" y="332"/>
                </a:lnTo>
                <a:lnTo>
                  <a:pt x="1016" y="401"/>
                </a:lnTo>
                <a:lnTo>
                  <a:pt x="1008" y="442"/>
                </a:lnTo>
                <a:lnTo>
                  <a:pt x="1004" y="463"/>
                </a:lnTo>
                <a:lnTo>
                  <a:pt x="1002" y="468"/>
                </a:lnTo>
                <a:lnTo>
                  <a:pt x="1009" y="464"/>
                </a:lnTo>
                <a:lnTo>
                  <a:pt x="1024" y="458"/>
                </a:lnTo>
                <a:lnTo>
                  <a:pt x="1027" y="457"/>
                </a:lnTo>
                <a:lnTo>
                  <a:pt x="1032" y="457"/>
                </a:lnTo>
                <a:lnTo>
                  <a:pt x="1035" y="458"/>
                </a:lnTo>
                <a:lnTo>
                  <a:pt x="1039" y="459"/>
                </a:lnTo>
                <a:lnTo>
                  <a:pt x="1041" y="463"/>
                </a:lnTo>
                <a:lnTo>
                  <a:pt x="1043" y="467"/>
                </a:lnTo>
                <a:lnTo>
                  <a:pt x="1043" y="473"/>
                </a:lnTo>
                <a:lnTo>
                  <a:pt x="1043" y="481"/>
                </a:lnTo>
                <a:lnTo>
                  <a:pt x="1042" y="502"/>
                </a:lnTo>
                <a:lnTo>
                  <a:pt x="1037" y="532"/>
                </a:lnTo>
                <a:lnTo>
                  <a:pt x="1033" y="564"/>
                </a:lnTo>
                <a:lnTo>
                  <a:pt x="1026" y="599"/>
                </a:lnTo>
                <a:lnTo>
                  <a:pt x="1019" y="631"/>
                </a:lnTo>
                <a:lnTo>
                  <a:pt x="1011" y="657"/>
                </a:lnTo>
                <a:lnTo>
                  <a:pt x="1008" y="667"/>
                </a:lnTo>
                <a:lnTo>
                  <a:pt x="1004" y="675"/>
                </a:lnTo>
                <a:lnTo>
                  <a:pt x="1002" y="677"/>
                </a:lnTo>
                <a:lnTo>
                  <a:pt x="1000" y="678"/>
                </a:lnTo>
                <a:lnTo>
                  <a:pt x="998" y="680"/>
                </a:lnTo>
                <a:lnTo>
                  <a:pt x="996" y="680"/>
                </a:lnTo>
                <a:lnTo>
                  <a:pt x="978" y="674"/>
                </a:lnTo>
                <a:lnTo>
                  <a:pt x="975" y="674"/>
                </a:lnTo>
                <a:lnTo>
                  <a:pt x="974" y="690"/>
                </a:lnTo>
                <a:lnTo>
                  <a:pt x="970" y="726"/>
                </a:lnTo>
                <a:lnTo>
                  <a:pt x="965" y="746"/>
                </a:lnTo>
                <a:lnTo>
                  <a:pt x="961" y="767"/>
                </a:lnTo>
                <a:lnTo>
                  <a:pt x="957" y="776"/>
                </a:lnTo>
                <a:lnTo>
                  <a:pt x="954" y="783"/>
                </a:lnTo>
                <a:lnTo>
                  <a:pt x="949" y="790"/>
                </a:lnTo>
                <a:lnTo>
                  <a:pt x="946" y="796"/>
                </a:lnTo>
                <a:lnTo>
                  <a:pt x="930" y="812"/>
                </a:lnTo>
                <a:lnTo>
                  <a:pt x="919" y="824"/>
                </a:lnTo>
                <a:lnTo>
                  <a:pt x="912" y="831"/>
                </a:lnTo>
                <a:lnTo>
                  <a:pt x="910" y="834"/>
                </a:lnTo>
                <a:lnTo>
                  <a:pt x="906" y="867"/>
                </a:lnTo>
                <a:lnTo>
                  <a:pt x="943" y="864"/>
                </a:lnTo>
                <a:lnTo>
                  <a:pt x="943" y="866"/>
                </a:lnTo>
                <a:lnTo>
                  <a:pt x="943" y="873"/>
                </a:lnTo>
                <a:lnTo>
                  <a:pt x="945" y="883"/>
                </a:lnTo>
                <a:lnTo>
                  <a:pt x="948" y="895"/>
                </a:lnTo>
                <a:lnTo>
                  <a:pt x="952" y="902"/>
                </a:lnTo>
                <a:lnTo>
                  <a:pt x="956" y="909"/>
                </a:lnTo>
                <a:lnTo>
                  <a:pt x="961" y="917"/>
                </a:lnTo>
                <a:lnTo>
                  <a:pt x="967" y="924"/>
                </a:lnTo>
                <a:lnTo>
                  <a:pt x="975" y="931"/>
                </a:lnTo>
                <a:lnTo>
                  <a:pt x="984" y="939"/>
                </a:lnTo>
                <a:lnTo>
                  <a:pt x="996" y="946"/>
                </a:lnTo>
                <a:lnTo>
                  <a:pt x="1008" y="953"/>
                </a:lnTo>
                <a:lnTo>
                  <a:pt x="1043" y="969"/>
                </a:lnTo>
                <a:lnTo>
                  <a:pt x="1092" y="990"/>
                </a:lnTo>
                <a:lnTo>
                  <a:pt x="1149" y="1014"/>
                </a:lnTo>
                <a:lnTo>
                  <a:pt x="1211" y="1039"/>
                </a:lnTo>
                <a:lnTo>
                  <a:pt x="1273" y="1066"/>
                </a:lnTo>
                <a:lnTo>
                  <a:pt x="1331" y="1091"/>
                </a:lnTo>
                <a:lnTo>
                  <a:pt x="1357" y="1103"/>
                </a:lnTo>
                <a:lnTo>
                  <a:pt x="1380" y="1114"/>
                </a:lnTo>
                <a:lnTo>
                  <a:pt x="1400" y="1125"/>
                </a:lnTo>
                <a:lnTo>
                  <a:pt x="1415" y="1135"/>
                </a:lnTo>
                <a:lnTo>
                  <a:pt x="1427" y="1143"/>
                </a:lnTo>
                <a:lnTo>
                  <a:pt x="1438" y="1151"/>
                </a:lnTo>
                <a:lnTo>
                  <a:pt x="1447" y="1158"/>
                </a:lnTo>
                <a:lnTo>
                  <a:pt x="1455" y="1166"/>
                </a:lnTo>
                <a:lnTo>
                  <a:pt x="1462" y="1173"/>
                </a:lnTo>
                <a:lnTo>
                  <a:pt x="1468" y="1181"/>
                </a:lnTo>
                <a:lnTo>
                  <a:pt x="1472" y="1188"/>
                </a:lnTo>
                <a:lnTo>
                  <a:pt x="1476" y="1196"/>
                </a:lnTo>
                <a:lnTo>
                  <a:pt x="1478" y="1204"/>
                </a:lnTo>
                <a:lnTo>
                  <a:pt x="1480" y="1213"/>
                </a:lnTo>
                <a:lnTo>
                  <a:pt x="1481" y="1222"/>
                </a:lnTo>
                <a:lnTo>
                  <a:pt x="1481" y="1231"/>
                </a:lnTo>
                <a:lnTo>
                  <a:pt x="1481" y="1253"/>
                </a:lnTo>
                <a:lnTo>
                  <a:pt x="1480" y="1279"/>
                </a:lnTo>
                <a:lnTo>
                  <a:pt x="1478" y="1332"/>
                </a:lnTo>
                <a:lnTo>
                  <a:pt x="1477" y="1371"/>
                </a:lnTo>
                <a:lnTo>
                  <a:pt x="1474" y="1396"/>
                </a:lnTo>
                <a:lnTo>
                  <a:pt x="1474" y="1405"/>
                </a:lnTo>
                <a:lnTo>
                  <a:pt x="740" y="1411"/>
                </a:lnTo>
                <a:lnTo>
                  <a:pt x="6" y="1405"/>
                </a:lnTo>
                <a:lnTo>
                  <a:pt x="6" y="1396"/>
                </a:lnTo>
                <a:lnTo>
                  <a:pt x="5" y="1371"/>
                </a:lnTo>
                <a:lnTo>
                  <a:pt x="3" y="1332"/>
                </a:lnTo>
                <a:lnTo>
                  <a:pt x="1" y="1279"/>
                </a:lnTo>
                <a:lnTo>
                  <a:pt x="0" y="1253"/>
                </a:lnTo>
                <a:lnTo>
                  <a:pt x="0" y="1231"/>
                </a:lnTo>
                <a:lnTo>
                  <a:pt x="0" y="1222"/>
                </a:lnTo>
                <a:lnTo>
                  <a:pt x="1" y="1213"/>
                </a:lnTo>
                <a:lnTo>
                  <a:pt x="3" y="1204"/>
                </a:lnTo>
                <a:lnTo>
                  <a:pt x="5" y="1196"/>
                </a:lnTo>
                <a:lnTo>
                  <a:pt x="9" y="1188"/>
                </a:lnTo>
                <a:lnTo>
                  <a:pt x="13" y="1181"/>
                </a:lnTo>
                <a:lnTo>
                  <a:pt x="19" y="1173"/>
                </a:lnTo>
                <a:lnTo>
                  <a:pt x="26" y="1166"/>
                </a:lnTo>
                <a:lnTo>
                  <a:pt x="34" y="1158"/>
                </a:lnTo>
                <a:lnTo>
                  <a:pt x="43" y="1151"/>
                </a:lnTo>
                <a:lnTo>
                  <a:pt x="54" y="1143"/>
                </a:lnTo>
                <a:lnTo>
                  <a:pt x="66" y="1135"/>
                </a:lnTo>
                <a:lnTo>
                  <a:pt x="82" y="1125"/>
                </a:lnTo>
                <a:lnTo>
                  <a:pt x="101" y="1114"/>
                </a:lnTo>
                <a:lnTo>
                  <a:pt x="124" y="1103"/>
                </a:lnTo>
                <a:lnTo>
                  <a:pt x="150" y="1091"/>
                </a:lnTo>
                <a:lnTo>
                  <a:pt x="207" y="1066"/>
                </a:lnTo>
                <a:lnTo>
                  <a:pt x="270" y="1039"/>
                </a:lnTo>
                <a:lnTo>
                  <a:pt x="332" y="1014"/>
                </a:lnTo>
                <a:lnTo>
                  <a:pt x="389" y="990"/>
                </a:lnTo>
                <a:lnTo>
                  <a:pt x="438" y="969"/>
                </a:lnTo>
                <a:lnTo>
                  <a:pt x="473" y="953"/>
                </a:lnTo>
                <a:lnTo>
                  <a:pt x="485" y="946"/>
                </a:lnTo>
                <a:lnTo>
                  <a:pt x="497" y="939"/>
                </a:lnTo>
                <a:lnTo>
                  <a:pt x="506" y="931"/>
                </a:lnTo>
                <a:lnTo>
                  <a:pt x="513" y="924"/>
                </a:lnTo>
                <a:lnTo>
                  <a:pt x="520" y="917"/>
                </a:lnTo>
                <a:lnTo>
                  <a:pt x="525" y="909"/>
                </a:lnTo>
                <a:lnTo>
                  <a:pt x="529" y="902"/>
                </a:lnTo>
                <a:lnTo>
                  <a:pt x="533" y="895"/>
                </a:lnTo>
                <a:lnTo>
                  <a:pt x="536" y="883"/>
                </a:lnTo>
                <a:lnTo>
                  <a:pt x="538" y="873"/>
                </a:lnTo>
                <a:lnTo>
                  <a:pt x="538" y="866"/>
                </a:lnTo>
                <a:lnTo>
                  <a:pt x="538" y="864"/>
                </a:lnTo>
                <a:lnTo>
                  <a:pt x="574" y="867"/>
                </a:lnTo>
                <a:lnTo>
                  <a:pt x="571" y="834"/>
                </a:lnTo>
                <a:lnTo>
                  <a:pt x="569" y="831"/>
                </a:lnTo>
                <a:lnTo>
                  <a:pt x="562" y="824"/>
                </a:lnTo>
                <a:lnTo>
                  <a:pt x="551" y="812"/>
                </a:lnTo>
                <a:lnTo>
                  <a:pt x="536" y="796"/>
                </a:lnTo>
                <a:lnTo>
                  <a:pt x="532" y="790"/>
                </a:lnTo>
                <a:lnTo>
                  <a:pt x="527" y="783"/>
                </a:lnTo>
                <a:lnTo>
                  <a:pt x="524" y="776"/>
                </a:lnTo>
                <a:lnTo>
                  <a:pt x="520" y="767"/>
                </a:lnTo>
                <a:lnTo>
                  <a:pt x="516" y="746"/>
                </a:lnTo>
                <a:lnTo>
                  <a:pt x="511" y="726"/>
                </a:lnTo>
                <a:lnTo>
                  <a:pt x="507" y="690"/>
                </a:lnTo>
                <a:lnTo>
                  <a:pt x="506" y="674"/>
                </a:lnTo>
                <a:lnTo>
                  <a:pt x="503" y="674"/>
                </a:lnTo>
                <a:lnTo>
                  <a:pt x="485" y="680"/>
                </a:lnTo>
                <a:lnTo>
                  <a:pt x="483" y="680"/>
                </a:lnTo>
                <a:lnTo>
                  <a:pt x="481" y="678"/>
                </a:lnTo>
                <a:lnTo>
                  <a:pt x="478" y="677"/>
                </a:lnTo>
                <a:lnTo>
                  <a:pt x="477" y="675"/>
                </a:lnTo>
                <a:lnTo>
                  <a:pt x="473" y="667"/>
                </a:lnTo>
                <a:lnTo>
                  <a:pt x="469" y="657"/>
                </a:lnTo>
                <a:lnTo>
                  <a:pt x="462" y="631"/>
                </a:lnTo>
                <a:lnTo>
                  <a:pt x="455" y="599"/>
                </a:lnTo>
                <a:lnTo>
                  <a:pt x="448" y="564"/>
                </a:lnTo>
                <a:lnTo>
                  <a:pt x="443" y="532"/>
                </a:lnTo>
                <a:lnTo>
                  <a:pt x="439" y="502"/>
                </a:lnTo>
                <a:lnTo>
                  <a:pt x="438" y="481"/>
                </a:lnTo>
                <a:lnTo>
                  <a:pt x="438" y="475"/>
                </a:lnTo>
                <a:lnTo>
                  <a:pt x="438" y="471"/>
                </a:lnTo>
                <a:lnTo>
                  <a:pt x="439" y="466"/>
                </a:lnTo>
                <a:lnTo>
                  <a:pt x="440" y="463"/>
                </a:lnTo>
                <a:lnTo>
                  <a:pt x="441" y="460"/>
                </a:lnTo>
                <a:lnTo>
                  <a:pt x="443" y="459"/>
                </a:lnTo>
                <a:lnTo>
                  <a:pt x="446" y="458"/>
                </a:lnTo>
                <a:lnTo>
                  <a:pt x="449" y="457"/>
                </a:lnTo>
                <a:lnTo>
                  <a:pt x="455" y="457"/>
                </a:lnTo>
                <a:lnTo>
                  <a:pt x="460" y="458"/>
                </a:lnTo>
                <a:lnTo>
                  <a:pt x="466" y="460"/>
                </a:lnTo>
                <a:lnTo>
                  <a:pt x="471" y="464"/>
                </a:lnTo>
                <a:lnTo>
                  <a:pt x="466" y="454"/>
                </a:lnTo>
                <a:lnTo>
                  <a:pt x="460" y="442"/>
                </a:lnTo>
                <a:lnTo>
                  <a:pt x="455" y="431"/>
                </a:lnTo>
                <a:lnTo>
                  <a:pt x="449" y="418"/>
                </a:lnTo>
                <a:lnTo>
                  <a:pt x="446" y="407"/>
                </a:lnTo>
                <a:lnTo>
                  <a:pt x="442" y="393"/>
                </a:lnTo>
                <a:lnTo>
                  <a:pt x="439" y="377"/>
                </a:lnTo>
                <a:lnTo>
                  <a:pt x="438" y="358"/>
                </a:lnTo>
                <a:lnTo>
                  <a:pt x="437" y="337"/>
                </a:lnTo>
                <a:lnTo>
                  <a:pt x="436" y="316"/>
                </a:lnTo>
                <a:lnTo>
                  <a:pt x="437" y="292"/>
                </a:lnTo>
                <a:lnTo>
                  <a:pt x="438" y="270"/>
                </a:lnTo>
                <a:lnTo>
                  <a:pt x="439" y="246"/>
                </a:lnTo>
                <a:lnTo>
                  <a:pt x="441" y="222"/>
                </a:lnTo>
                <a:lnTo>
                  <a:pt x="445" y="200"/>
                </a:lnTo>
                <a:lnTo>
                  <a:pt x="448" y="178"/>
                </a:lnTo>
                <a:lnTo>
                  <a:pt x="452" y="158"/>
                </a:lnTo>
                <a:lnTo>
                  <a:pt x="458" y="139"/>
                </a:lnTo>
                <a:lnTo>
                  <a:pt x="464" y="123"/>
                </a:lnTo>
                <a:lnTo>
                  <a:pt x="471" y="109"/>
                </a:lnTo>
                <a:lnTo>
                  <a:pt x="475" y="101"/>
                </a:lnTo>
                <a:lnTo>
                  <a:pt x="480" y="96"/>
                </a:lnTo>
                <a:lnTo>
                  <a:pt x="484" y="90"/>
                </a:lnTo>
                <a:lnTo>
                  <a:pt x="489" y="86"/>
                </a:lnTo>
                <a:lnTo>
                  <a:pt x="494" y="82"/>
                </a:lnTo>
                <a:lnTo>
                  <a:pt x="499" y="79"/>
                </a:lnTo>
                <a:lnTo>
                  <a:pt x="504" y="76"/>
                </a:lnTo>
                <a:lnTo>
                  <a:pt x="509" y="75"/>
                </a:lnTo>
                <a:lnTo>
                  <a:pt x="519" y="74"/>
                </a:lnTo>
                <a:lnTo>
                  <a:pt x="528" y="75"/>
                </a:lnTo>
                <a:lnTo>
                  <a:pt x="537" y="78"/>
                </a:lnTo>
                <a:lnTo>
                  <a:pt x="545" y="81"/>
                </a:lnTo>
                <a:lnTo>
                  <a:pt x="556" y="69"/>
                </a:lnTo>
                <a:lnTo>
                  <a:pt x="568" y="55"/>
                </a:lnTo>
                <a:lnTo>
                  <a:pt x="577" y="47"/>
                </a:lnTo>
                <a:lnTo>
                  <a:pt x="585" y="40"/>
                </a:lnTo>
                <a:lnTo>
                  <a:pt x="594" y="34"/>
                </a:lnTo>
                <a:lnTo>
                  <a:pt x="604" y="28"/>
                </a:lnTo>
                <a:lnTo>
                  <a:pt x="614" y="22"/>
                </a:lnTo>
                <a:lnTo>
                  <a:pt x="624" y="18"/>
                </a:lnTo>
                <a:lnTo>
                  <a:pt x="635" y="13"/>
                </a:lnTo>
                <a:lnTo>
                  <a:pt x="647" y="10"/>
                </a:lnTo>
                <a:lnTo>
                  <a:pt x="669" y="5"/>
                </a:lnTo>
                <a:lnTo>
                  <a:pt x="693" y="2"/>
                </a:lnTo>
                <a:lnTo>
                  <a:pt x="717" y="0"/>
                </a:lnTo>
                <a:lnTo>
                  <a:pt x="74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6350" cap="flat" cmpd="sng" algn="ctr">
            <a:noFill/>
            <a:prstDash val="solid"/>
          </a:ln>
          <a:effectLst>
            <a:innerShdw blurRad="63500" dist="50800" dir="13500000">
              <a:srgbClr val="000000">
                <a:alpha val="27000"/>
              </a:srgbClr>
            </a:innerShdw>
            <a:reflection stA="15000" endPos="45000" dist="12700" dir="5400000" sy="-100000" algn="bl" rotWithShape="0"/>
          </a:effectLst>
        </p:spPr>
        <p:txBody>
          <a:bodyPr anchor="ctr"/>
          <a:lstStyle/>
          <a:p>
            <a:pPr marL="342900" indent="-342900" algn="ctr">
              <a:buFont typeface="Calibri" charset="0"/>
              <a:buAutoNum type="arabicPeriod"/>
              <a:defRPr/>
            </a:pPr>
            <a:endParaRPr lang="en-US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ＭＳ Ｐゴシック" charset="-128"/>
              <a:cs typeface="+mn-cs"/>
            </a:endParaRPr>
          </a:p>
        </p:txBody>
      </p:sp>
      <p:sp>
        <p:nvSpPr>
          <p:cNvPr id="50" name="Freeform 140"/>
          <p:cNvSpPr>
            <a:spLocks/>
          </p:cNvSpPr>
          <p:nvPr/>
        </p:nvSpPr>
        <p:spPr bwMode="auto">
          <a:xfrm>
            <a:off x="1447034" y="2477932"/>
            <a:ext cx="497242" cy="554969"/>
          </a:xfrm>
          <a:custGeom>
            <a:avLst/>
            <a:gdLst>
              <a:gd name="T0" fmla="*/ 427 w 910"/>
              <a:gd name="T1" fmla="*/ 4 h 1017"/>
              <a:gd name="T2" fmla="*/ 482 w 910"/>
              <a:gd name="T3" fmla="*/ 24 h 1017"/>
              <a:gd name="T4" fmla="*/ 521 w 910"/>
              <a:gd name="T5" fmla="*/ 64 h 1017"/>
              <a:gd name="T6" fmla="*/ 562 w 910"/>
              <a:gd name="T7" fmla="*/ 121 h 1017"/>
              <a:gd name="T8" fmla="*/ 580 w 910"/>
              <a:gd name="T9" fmla="*/ 170 h 1017"/>
              <a:gd name="T10" fmla="*/ 583 w 910"/>
              <a:gd name="T11" fmla="*/ 224 h 1017"/>
              <a:gd name="T12" fmla="*/ 565 w 910"/>
              <a:gd name="T13" fmla="*/ 333 h 1017"/>
              <a:gd name="T14" fmla="*/ 583 w 910"/>
              <a:gd name="T15" fmla="*/ 330 h 1017"/>
              <a:gd name="T16" fmla="*/ 592 w 910"/>
              <a:gd name="T17" fmla="*/ 333 h 1017"/>
              <a:gd name="T18" fmla="*/ 590 w 910"/>
              <a:gd name="T19" fmla="*/ 383 h 1017"/>
              <a:gd name="T20" fmla="*/ 568 w 910"/>
              <a:gd name="T21" fmla="*/ 481 h 1017"/>
              <a:gd name="T22" fmla="*/ 547 w 910"/>
              <a:gd name="T23" fmla="*/ 486 h 1017"/>
              <a:gd name="T24" fmla="*/ 538 w 910"/>
              <a:gd name="T25" fmla="*/ 538 h 1017"/>
              <a:gd name="T26" fmla="*/ 527 w 910"/>
              <a:gd name="T27" fmla="*/ 570 h 1017"/>
              <a:gd name="T28" fmla="*/ 496 w 910"/>
              <a:gd name="T29" fmla="*/ 625 h 1017"/>
              <a:gd name="T30" fmla="*/ 528 w 910"/>
              <a:gd name="T31" fmla="*/ 650 h 1017"/>
              <a:gd name="T32" fmla="*/ 545 w 910"/>
              <a:gd name="T33" fmla="*/ 671 h 1017"/>
              <a:gd name="T34" fmla="*/ 594 w 910"/>
              <a:gd name="T35" fmla="*/ 698 h 1017"/>
              <a:gd name="T36" fmla="*/ 760 w 910"/>
              <a:gd name="T37" fmla="*/ 768 h 1017"/>
              <a:gd name="T38" fmla="*/ 851 w 910"/>
              <a:gd name="T39" fmla="*/ 810 h 1017"/>
              <a:gd name="T40" fmla="*/ 896 w 910"/>
              <a:gd name="T41" fmla="*/ 846 h 1017"/>
              <a:gd name="T42" fmla="*/ 908 w 910"/>
              <a:gd name="T43" fmla="*/ 873 h 1017"/>
              <a:gd name="T44" fmla="*/ 907 w 910"/>
              <a:gd name="T45" fmla="*/ 960 h 1017"/>
              <a:gd name="T46" fmla="*/ 456 w 910"/>
              <a:gd name="T47" fmla="*/ 1017 h 1017"/>
              <a:gd name="T48" fmla="*/ 439 w 910"/>
              <a:gd name="T49" fmla="*/ 977 h 1017"/>
              <a:gd name="T50" fmla="*/ 391 w 910"/>
              <a:gd name="T51" fmla="*/ 938 h 1017"/>
              <a:gd name="T52" fmla="*/ 314 w 910"/>
              <a:gd name="T53" fmla="*/ 897 h 1017"/>
              <a:gd name="T54" fmla="*/ 90 w 910"/>
              <a:gd name="T55" fmla="*/ 802 h 1017"/>
              <a:gd name="T56" fmla="*/ 55 w 910"/>
              <a:gd name="T57" fmla="*/ 741 h 1017"/>
              <a:gd name="T58" fmla="*/ 152 w 910"/>
              <a:gd name="T59" fmla="*/ 702 h 1017"/>
              <a:gd name="T60" fmla="*/ 200 w 910"/>
              <a:gd name="T61" fmla="*/ 677 h 1017"/>
              <a:gd name="T62" fmla="*/ 221 w 910"/>
              <a:gd name="T63" fmla="*/ 655 h 1017"/>
              <a:gd name="T64" fmla="*/ 231 w 910"/>
              <a:gd name="T65" fmla="*/ 623 h 1017"/>
              <a:gd name="T66" fmla="*/ 229 w 910"/>
              <a:gd name="T67" fmla="*/ 573 h 1017"/>
              <a:gd name="T68" fmla="*/ 217 w 910"/>
              <a:gd name="T69" fmla="*/ 553 h 1017"/>
              <a:gd name="T70" fmla="*/ 207 w 910"/>
              <a:gd name="T71" fmla="*/ 486 h 1017"/>
              <a:gd name="T72" fmla="*/ 186 w 910"/>
              <a:gd name="T73" fmla="*/ 486 h 1017"/>
              <a:gd name="T74" fmla="*/ 170 w 910"/>
              <a:gd name="T75" fmla="*/ 432 h 1017"/>
              <a:gd name="T76" fmla="*/ 160 w 910"/>
              <a:gd name="T77" fmla="*/ 333 h 1017"/>
              <a:gd name="T78" fmla="*/ 174 w 910"/>
              <a:gd name="T79" fmla="*/ 331 h 1017"/>
              <a:gd name="T80" fmla="*/ 166 w 910"/>
              <a:gd name="T81" fmla="*/ 302 h 1017"/>
              <a:gd name="T82" fmla="*/ 157 w 910"/>
              <a:gd name="T83" fmla="*/ 258 h 1017"/>
              <a:gd name="T84" fmla="*/ 165 w 910"/>
              <a:gd name="T85" fmla="*/ 128 h 1017"/>
              <a:gd name="T86" fmla="*/ 181 w 910"/>
              <a:gd name="T87" fmla="*/ 78 h 1017"/>
              <a:gd name="T88" fmla="*/ 209 w 910"/>
              <a:gd name="T89" fmla="*/ 55 h 1017"/>
              <a:gd name="T90" fmla="*/ 235 w 910"/>
              <a:gd name="T91" fmla="*/ 58 h 1017"/>
              <a:gd name="T92" fmla="*/ 264 w 910"/>
              <a:gd name="T93" fmla="*/ 30 h 1017"/>
              <a:gd name="T94" fmla="*/ 308 w 910"/>
              <a:gd name="T95" fmla="*/ 7 h 1017"/>
              <a:gd name="T96" fmla="*/ 377 w 910"/>
              <a:gd name="T97" fmla="*/ 0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10" h="1017">
                <a:moveTo>
                  <a:pt x="377" y="0"/>
                </a:moveTo>
                <a:lnTo>
                  <a:pt x="393" y="0"/>
                </a:lnTo>
                <a:lnTo>
                  <a:pt x="410" y="1"/>
                </a:lnTo>
                <a:lnTo>
                  <a:pt x="427" y="4"/>
                </a:lnTo>
                <a:lnTo>
                  <a:pt x="444" y="7"/>
                </a:lnTo>
                <a:lnTo>
                  <a:pt x="460" y="13"/>
                </a:lnTo>
                <a:lnTo>
                  <a:pt x="475" y="21"/>
                </a:lnTo>
                <a:lnTo>
                  <a:pt x="482" y="24"/>
                </a:lnTo>
                <a:lnTo>
                  <a:pt x="488" y="30"/>
                </a:lnTo>
                <a:lnTo>
                  <a:pt x="494" y="34"/>
                </a:lnTo>
                <a:lnTo>
                  <a:pt x="501" y="40"/>
                </a:lnTo>
                <a:lnTo>
                  <a:pt x="521" y="64"/>
                </a:lnTo>
                <a:lnTo>
                  <a:pt x="540" y="87"/>
                </a:lnTo>
                <a:lnTo>
                  <a:pt x="548" y="99"/>
                </a:lnTo>
                <a:lnTo>
                  <a:pt x="555" y="110"/>
                </a:lnTo>
                <a:lnTo>
                  <a:pt x="562" y="121"/>
                </a:lnTo>
                <a:lnTo>
                  <a:pt x="567" y="134"/>
                </a:lnTo>
                <a:lnTo>
                  <a:pt x="572" y="145"/>
                </a:lnTo>
                <a:lnTo>
                  <a:pt x="576" y="157"/>
                </a:lnTo>
                <a:lnTo>
                  <a:pt x="580" y="170"/>
                </a:lnTo>
                <a:lnTo>
                  <a:pt x="582" y="183"/>
                </a:lnTo>
                <a:lnTo>
                  <a:pt x="583" y="197"/>
                </a:lnTo>
                <a:lnTo>
                  <a:pt x="583" y="210"/>
                </a:lnTo>
                <a:lnTo>
                  <a:pt x="583" y="224"/>
                </a:lnTo>
                <a:lnTo>
                  <a:pt x="582" y="240"/>
                </a:lnTo>
                <a:lnTo>
                  <a:pt x="574" y="289"/>
                </a:lnTo>
                <a:lnTo>
                  <a:pt x="568" y="319"/>
                </a:lnTo>
                <a:lnTo>
                  <a:pt x="565" y="333"/>
                </a:lnTo>
                <a:lnTo>
                  <a:pt x="564" y="338"/>
                </a:lnTo>
                <a:lnTo>
                  <a:pt x="570" y="335"/>
                </a:lnTo>
                <a:lnTo>
                  <a:pt x="580" y="330"/>
                </a:lnTo>
                <a:lnTo>
                  <a:pt x="583" y="330"/>
                </a:lnTo>
                <a:lnTo>
                  <a:pt x="585" y="330"/>
                </a:lnTo>
                <a:lnTo>
                  <a:pt x="589" y="330"/>
                </a:lnTo>
                <a:lnTo>
                  <a:pt x="591" y="331"/>
                </a:lnTo>
                <a:lnTo>
                  <a:pt x="592" y="333"/>
                </a:lnTo>
                <a:lnTo>
                  <a:pt x="593" y="337"/>
                </a:lnTo>
                <a:lnTo>
                  <a:pt x="594" y="341"/>
                </a:lnTo>
                <a:lnTo>
                  <a:pt x="594" y="346"/>
                </a:lnTo>
                <a:lnTo>
                  <a:pt x="590" y="383"/>
                </a:lnTo>
                <a:lnTo>
                  <a:pt x="582" y="432"/>
                </a:lnTo>
                <a:lnTo>
                  <a:pt x="578" y="454"/>
                </a:lnTo>
                <a:lnTo>
                  <a:pt x="572" y="474"/>
                </a:lnTo>
                <a:lnTo>
                  <a:pt x="568" y="481"/>
                </a:lnTo>
                <a:lnTo>
                  <a:pt x="566" y="486"/>
                </a:lnTo>
                <a:lnTo>
                  <a:pt x="563" y="489"/>
                </a:lnTo>
                <a:lnTo>
                  <a:pt x="561" y="489"/>
                </a:lnTo>
                <a:lnTo>
                  <a:pt x="547" y="486"/>
                </a:lnTo>
                <a:lnTo>
                  <a:pt x="545" y="486"/>
                </a:lnTo>
                <a:lnTo>
                  <a:pt x="545" y="497"/>
                </a:lnTo>
                <a:lnTo>
                  <a:pt x="541" y="523"/>
                </a:lnTo>
                <a:lnTo>
                  <a:pt x="538" y="538"/>
                </a:lnTo>
                <a:lnTo>
                  <a:pt x="535" y="553"/>
                </a:lnTo>
                <a:lnTo>
                  <a:pt x="532" y="559"/>
                </a:lnTo>
                <a:lnTo>
                  <a:pt x="530" y="565"/>
                </a:lnTo>
                <a:lnTo>
                  <a:pt x="527" y="570"/>
                </a:lnTo>
                <a:lnTo>
                  <a:pt x="523" y="573"/>
                </a:lnTo>
                <a:lnTo>
                  <a:pt x="504" y="593"/>
                </a:lnTo>
                <a:lnTo>
                  <a:pt x="498" y="601"/>
                </a:lnTo>
                <a:lnTo>
                  <a:pt x="496" y="625"/>
                </a:lnTo>
                <a:lnTo>
                  <a:pt x="522" y="623"/>
                </a:lnTo>
                <a:lnTo>
                  <a:pt x="522" y="629"/>
                </a:lnTo>
                <a:lnTo>
                  <a:pt x="526" y="645"/>
                </a:lnTo>
                <a:lnTo>
                  <a:pt x="528" y="650"/>
                </a:lnTo>
                <a:lnTo>
                  <a:pt x="531" y="655"/>
                </a:lnTo>
                <a:lnTo>
                  <a:pt x="535" y="661"/>
                </a:lnTo>
                <a:lnTo>
                  <a:pt x="540" y="666"/>
                </a:lnTo>
                <a:lnTo>
                  <a:pt x="545" y="671"/>
                </a:lnTo>
                <a:lnTo>
                  <a:pt x="552" y="677"/>
                </a:lnTo>
                <a:lnTo>
                  <a:pt x="559" y="681"/>
                </a:lnTo>
                <a:lnTo>
                  <a:pt x="568" y="687"/>
                </a:lnTo>
                <a:lnTo>
                  <a:pt x="594" y="698"/>
                </a:lnTo>
                <a:lnTo>
                  <a:pt x="629" y="713"/>
                </a:lnTo>
                <a:lnTo>
                  <a:pt x="670" y="730"/>
                </a:lnTo>
                <a:lnTo>
                  <a:pt x="715" y="749"/>
                </a:lnTo>
                <a:lnTo>
                  <a:pt x="760" y="768"/>
                </a:lnTo>
                <a:lnTo>
                  <a:pt x="802" y="786"/>
                </a:lnTo>
                <a:lnTo>
                  <a:pt x="820" y="795"/>
                </a:lnTo>
                <a:lnTo>
                  <a:pt x="837" y="803"/>
                </a:lnTo>
                <a:lnTo>
                  <a:pt x="851" y="810"/>
                </a:lnTo>
                <a:lnTo>
                  <a:pt x="862" y="818"/>
                </a:lnTo>
                <a:lnTo>
                  <a:pt x="879" y="829"/>
                </a:lnTo>
                <a:lnTo>
                  <a:pt x="891" y="841"/>
                </a:lnTo>
                <a:lnTo>
                  <a:pt x="896" y="846"/>
                </a:lnTo>
                <a:lnTo>
                  <a:pt x="900" y="851"/>
                </a:lnTo>
                <a:lnTo>
                  <a:pt x="903" y="856"/>
                </a:lnTo>
                <a:lnTo>
                  <a:pt x="906" y="862"/>
                </a:lnTo>
                <a:lnTo>
                  <a:pt x="908" y="873"/>
                </a:lnTo>
                <a:lnTo>
                  <a:pt x="910" y="887"/>
                </a:lnTo>
                <a:lnTo>
                  <a:pt x="910" y="904"/>
                </a:lnTo>
                <a:lnTo>
                  <a:pt x="910" y="922"/>
                </a:lnTo>
                <a:lnTo>
                  <a:pt x="907" y="960"/>
                </a:lnTo>
                <a:lnTo>
                  <a:pt x="906" y="989"/>
                </a:lnTo>
                <a:lnTo>
                  <a:pt x="905" y="1007"/>
                </a:lnTo>
                <a:lnTo>
                  <a:pt x="905" y="1012"/>
                </a:lnTo>
                <a:lnTo>
                  <a:pt x="456" y="1017"/>
                </a:lnTo>
                <a:lnTo>
                  <a:pt x="453" y="1005"/>
                </a:lnTo>
                <a:lnTo>
                  <a:pt x="450" y="996"/>
                </a:lnTo>
                <a:lnTo>
                  <a:pt x="445" y="986"/>
                </a:lnTo>
                <a:lnTo>
                  <a:pt x="439" y="977"/>
                </a:lnTo>
                <a:lnTo>
                  <a:pt x="431" y="968"/>
                </a:lnTo>
                <a:lnTo>
                  <a:pt x="419" y="958"/>
                </a:lnTo>
                <a:lnTo>
                  <a:pt x="407" y="948"/>
                </a:lnTo>
                <a:lnTo>
                  <a:pt x="391" y="938"/>
                </a:lnTo>
                <a:lnTo>
                  <a:pt x="377" y="929"/>
                </a:lnTo>
                <a:lnTo>
                  <a:pt x="358" y="919"/>
                </a:lnTo>
                <a:lnTo>
                  <a:pt x="338" y="908"/>
                </a:lnTo>
                <a:lnTo>
                  <a:pt x="314" y="897"/>
                </a:lnTo>
                <a:lnTo>
                  <a:pt x="261" y="873"/>
                </a:lnTo>
                <a:lnTo>
                  <a:pt x="205" y="850"/>
                </a:lnTo>
                <a:lnTo>
                  <a:pt x="146" y="825"/>
                </a:lnTo>
                <a:lnTo>
                  <a:pt x="90" y="802"/>
                </a:lnTo>
                <a:lnTo>
                  <a:pt x="40" y="782"/>
                </a:lnTo>
                <a:lnTo>
                  <a:pt x="0" y="764"/>
                </a:lnTo>
                <a:lnTo>
                  <a:pt x="28" y="752"/>
                </a:lnTo>
                <a:lnTo>
                  <a:pt x="55" y="741"/>
                </a:lnTo>
                <a:lnTo>
                  <a:pt x="82" y="730"/>
                </a:lnTo>
                <a:lnTo>
                  <a:pt x="107" y="720"/>
                </a:lnTo>
                <a:lnTo>
                  <a:pt x="130" y="710"/>
                </a:lnTo>
                <a:lnTo>
                  <a:pt x="152" y="702"/>
                </a:lnTo>
                <a:lnTo>
                  <a:pt x="170" y="694"/>
                </a:lnTo>
                <a:lnTo>
                  <a:pt x="183" y="687"/>
                </a:lnTo>
                <a:lnTo>
                  <a:pt x="192" y="681"/>
                </a:lnTo>
                <a:lnTo>
                  <a:pt x="200" y="677"/>
                </a:lnTo>
                <a:lnTo>
                  <a:pt x="207" y="671"/>
                </a:lnTo>
                <a:lnTo>
                  <a:pt x="213" y="666"/>
                </a:lnTo>
                <a:lnTo>
                  <a:pt x="217" y="661"/>
                </a:lnTo>
                <a:lnTo>
                  <a:pt x="221" y="655"/>
                </a:lnTo>
                <a:lnTo>
                  <a:pt x="224" y="650"/>
                </a:lnTo>
                <a:lnTo>
                  <a:pt x="226" y="645"/>
                </a:lnTo>
                <a:lnTo>
                  <a:pt x="231" y="629"/>
                </a:lnTo>
                <a:lnTo>
                  <a:pt x="231" y="623"/>
                </a:lnTo>
                <a:lnTo>
                  <a:pt x="256" y="625"/>
                </a:lnTo>
                <a:lnTo>
                  <a:pt x="255" y="601"/>
                </a:lnTo>
                <a:lnTo>
                  <a:pt x="248" y="593"/>
                </a:lnTo>
                <a:lnTo>
                  <a:pt x="229" y="573"/>
                </a:lnTo>
                <a:lnTo>
                  <a:pt x="225" y="570"/>
                </a:lnTo>
                <a:lnTo>
                  <a:pt x="223" y="565"/>
                </a:lnTo>
                <a:lnTo>
                  <a:pt x="220" y="559"/>
                </a:lnTo>
                <a:lnTo>
                  <a:pt x="217" y="553"/>
                </a:lnTo>
                <a:lnTo>
                  <a:pt x="214" y="538"/>
                </a:lnTo>
                <a:lnTo>
                  <a:pt x="212" y="523"/>
                </a:lnTo>
                <a:lnTo>
                  <a:pt x="208" y="497"/>
                </a:lnTo>
                <a:lnTo>
                  <a:pt x="207" y="486"/>
                </a:lnTo>
                <a:lnTo>
                  <a:pt x="205" y="486"/>
                </a:lnTo>
                <a:lnTo>
                  <a:pt x="192" y="489"/>
                </a:lnTo>
                <a:lnTo>
                  <a:pt x="189" y="489"/>
                </a:lnTo>
                <a:lnTo>
                  <a:pt x="186" y="486"/>
                </a:lnTo>
                <a:lnTo>
                  <a:pt x="183" y="481"/>
                </a:lnTo>
                <a:lnTo>
                  <a:pt x="180" y="474"/>
                </a:lnTo>
                <a:lnTo>
                  <a:pt x="176" y="454"/>
                </a:lnTo>
                <a:lnTo>
                  <a:pt x="170" y="432"/>
                </a:lnTo>
                <a:lnTo>
                  <a:pt x="162" y="383"/>
                </a:lnTo>
                <a:lnTo>
                  <a:pt x="157" y="346"/>
                </a:lnTo>
                <a:lnTo>
                  <a:pt x="157" y="339"/>
                </a:lnTo>
                <a:lnTo>
                  <a:pt x="160" y="333"/>
                </a:lnTo>
                <a:lnTo>
                  <a:pt x="162" y="331"/>
                </a:lnTo>
                <a:lnTo>
                  <a:pt x="165" y="330"/>
                </a:lnTo>
                <a:lnTo>
                  <a:pt x="170" y="330"/>
                </a:lnTo>
                <a:lnTo>
                  <a:pt x="174" y="331"/>
                </a:lnTo>
                <a:lnTo>
                  <a:pt x="178" y="332"/>
                </a:lnTo>
                <a:lnTo>
                  <a:pt x="182" y="335"/>
                </a:lnTo>
                <a:lnTo>
                  <a:pt x="174" y="319"/>
                </a:lnTo>
                <a:lnTo>
                  <a:pt x="166" y="302"/>
                </a:lnTo>
                <a:lnTo>
                  <a:pt x="163" y="294"/>
                </a:lnTo>
                <a:lnTo>
                  <a:pt x="161" y="284"/>
                </a:lnTo>
                <a:lnTo>
                  <a:pt x="159" y="271"/>
                </a:lnTo>
                <a:lnTo>
                  <a:pt x="157" y="258"/>
                </a:lnTo>
                <a:lnTo>
                  <a:pt x="156" y="227"/>
                </a:lnTo>
                <a:lnTo>
                  <a:pt x="157" y="195"/>
                </a:lnTo>
                <a:lnTo>
                  <a:pt x="161" y="161"/>
                </a:lnTo>
                <a:lnTo>
                  <a:pt x="165" y="128"/>
                </a:lnTo>
                <a:lnTo>
                  <a:pt x="169" y="113"/>
                </a:lnTo>
                <a:lnTo>
                  <a:pt x="172" y="101"/>
                </a:lnTo>
                <a:lnTo>
                  <a:pt x="177" y="88"/>
                </a:lnTo>
                <a:lnTo>
                  <a:pt x="181" y="78"/>
                </a:lnTo>
                <a:lnTo>
                  <a:pt x="188" y="69"/>
                </a:lnTo>
                <a:lnTo>
                  <a:pt x="195" y="61"/>
                </a:lnTo>
                <a:lnTo>
                  <a:pt x="203" y="57"/>
                </a:lnTo>
                <a:lnTo>
                  <a:pt x="209" y="55"/>
                </a:lnTo>
                <a:lnTo>
                  <a:pt x="216" y="53"/>
                </a:lnTo>
                <a:lnTo>
                  <a:pt x="223" y="55"/>
                </a:lnTo>
                <a:lnTo>
                  <a:pt x="230" y="56"/>
                </a:lnTo>
                <a:lnTo>
                  <a:pt x="235" y="58"/>
                </a:lnTo>
                <a:lnTo>
                  <a:pt x="243" y="49"/>
                </a:lnTo>
                <a:lnTo>
                  <a:pt x="252" y="40"/>
                </a:lnTo>
                <a:lnTo>
                  <a:pt x="258" y="34"/>
                </a:lnTo>
                <a:lnTo>
                  <a:pt x="264" y="30"/>
                </a:lnTo>
                <a:lnTo>
                  <a:pt x="270" y="24"/>
                </a:lnTo>
                <a:lnTo>
                  <a:pt x="277" y="21"/>
                </a:lnTo>
                <a:lnTo>
                  <a:pt x="292" y="13"/>
                </a:lnTo>
                <a:lnTo>
                  <a:pt x="308" y="7"/>
                </a:lnTo>
                <a:lnTo>
                  <a:pt x="325" y="4"/>
                </a:lnTo>
                <a:lnTo>
                  <a:pt x="342" y="1"/>
                </a:lnTo>
                <a:lnTo>
                  <a:pt x="358" y="0"/>
                </a:lnTo>
                <a:lnTo>
                  <a:pt x="37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6350" cap="flat" cmpd="sng" algn="ctr">
            <a:noFill/>
            <a:prstDash val="solid"/>
          </a:ln>
          <a:effectLst>
            <a:innerShdw blurRad="63500" dist="50800" dir="13500000">
              <a:srgbClr val="000000">
                <a:alpha val="27000"/>
              </a:srgbClr>
            </a:innerShdw>
            <a:reflection stA="9000" endPos="45000" dist="12700" dir="5400000" sy="-100000" algn="bl" rotWithShape="0"/>
          </a:effectLst>
        </p:spPr>
        <p:txBody>
          <a:bodyPr anchor="ctr"/>
          <a:lstStyle/>
          <a:p>
            <a:pPr marL="342900" indent="-342900" algn="ctr">
              <a:buFont typeface="Calibri" charset="0"/>
              <a:buAutoNum type="arabicPeriod"/>
              <a:defRPr/>
            </a:pPr>
            <a:endParaRPr lang="en-US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ＭＳ Ｐゴシック" charset="-128"/>
              <a:cs typeface="+mn-cs"/>
            </a:endParaRPr>
          </a:p>
        </p:txBody>
      </p:sp>
      <p:sp>
        <p:nvSpPr>
          <p:cNvPr id="52" name="Freeform 141"/>
          <p:cNvSpPr>
            <a:spLocks/>
          </p:cNvSpPr>
          <p:nvPr/>
        </p:nvSpPr>
        <p:spPr bwMode="auto">
          <a:xfrm>
            <a:off x="625732" y="2479245"/>
            <a:ext cx="494618" cy="554968"/>
          </a:xfrm>
          <a:custGeom>
            <a:avLst/>
            <a:gdLst>
              <a:gd name="T0" fmla="*/ 482 w 909"/>
              <a:gd name="T1" fmla="*/ 4 h 1017"/>
              <a:gd name="T2" fmla="*/ 428 w 909"/>
              <a:gd name="T3" fmla="*/ 24 h 1017"/>
              <a:gd name="T4" fmla="*/ 388 w 909"/>
              <a:gd name="T5" fmla="*/ 64 h 1017"/>
              <a:gd name="T6" fmla="*/ 348 w 909"/>
              <a:gd name="T7" fmla="*/ 121 h 1017"/>
              <a:gd name="T8" fmla="*/ 330 w 909"/>
              <a:gd name="T9" fmla="*/ 170 h 1017"/>
              <a:gd name="T10" fmla="*/ 326 w 909"/>
              <a:gd name="T11" fmla="*/ 224 h 1017"/>
              <a:gd name="T12" fmla="*/ 344 w 909"/>
              <a:gd name="T13" fmla="*/ 333 h 1017"/>
              <a:gd name="T14" fmla="*/ 326 w 909"/>
              <a:gd name="T15" fmla="*/ 330 h 1017"/>
              <a:gd name="T16" fmla="*/ 317 w 909"/>
              <a:gd name="T17" fmla="*/ 333 h 1017"/>
              <a:gd name="T18" fmla="*/ 319 w 909"/>
              <a:gd name="T19" fmla="*/ 383 h 1017"/>
              <a:gd name="T20" fmla="*/ 341 w 909"/>
              <a:gd name="T21" fmla="*/ 481 h 1017"/>
              <a:gd name="T22" fmla="*/ 362 w 909"/>
              <a:gd name="T23" fmla="*/ 486 h 1017"/>
              <a:gd name="T24" fmla="*/ 371 w 909"/>
              <a:gd name="T25" fmla="*/ 538 h 1017"/>
              <a:gd name="T26" fmla="*/ 383 w 909"/>
              <a:gd name="T27" fmla="*/ 570 h 1017"/>
              <a:gd name="T28" fmla="*/ 413 w 909"/>
              <a:gd name="T29" fmla="*/ 625 h 1017"/>
              <a:gd name="T30" fmla="*/ 381 w 909"/>
              <a:gd name="T31" fmla="*/ 650 h 1017"/>
              <a:gd name="T32" fmla="*/ 365 w 909"/>
              <a:gd name="T33" fmla="*/ 671 h 1017"/>
              <a:gd name="T34" fmla="*/ 315 w 909"/>
              <a:gd name="T35" fmla="*/ 698 h 1017"/>
              <a:gd name="T36" fmla="*/ 149 w 909"/>
              <a:gd name="T37" fmla="*/ 768 h 1017"/>
              <a:gd name="T38" fmla="*/ 59 w 909"/>
              <a:gd name="T39" fmla="*/ 810 h 1017"/>
              <a:gd name="T40" fmla="*/ 13 w 909"/>
              <a:gd name="T41" fmla="*/ 846 h 1017"/>
              <a:gd name="T42" fmla="*/ 1 w 909"/>
              <a:gd name="T43" fmla="*/ 873 h 1017"/>
              <a:gd name="T44" fmla="*/ 2 w 909"/>
              <a:gd name="T45" fmla="*/ 960 h 1017"/>
              <a:gd name="T46" fmla="*/ 454 w 909"/>
              <a:gd name="T47" fmla="*/ 1017 h 1017"/>
              <a:gd name="T48" fmla="*/ 471 w 909"/>
              <a:gd name="T49" fmla="*/ 977 h 1017"/>
              <a:gd name="T50" fmla="*/ 518 w 909"/>
              <a:gd name="T51" fmla="*/ 938 h 1017"/>
              <a:gd name="T52" fmla="*/ 595 w 909"/>
              <a:gd name="T53" fmla="*/ 897 h 1017"/>
              <a:gd name="T54" fmla="*/ 820 w 909"/>
              <a:gd name="T55" fmla="*/ 802 h 1017"/>
              <a:gd name="T56" fmla="*/ 855 w 909"/>
              <a:gd name="T57" fmla="*/ 741 h 1017"/>
              <a:gd name="T58" fmla="*/ 758 w 909"/>
              <a:gd name="T59" fmla="*/ 702 h 1017"/>
              <a:gd name="T60" fmla="*/ 709 w 909"/>
              <a:gd name="T61" fmla="*/ 677 h 1017"/>
              <a:gd name="T62" fmla="*/ 689 w 909"/>
              <a:gd name="T63" fmla="*/ 655 h 1017"/>
              <a:gd name="T64" fmla="*/ 678 w 909"/>
              <a:gd name="T65" fmla="*/ 623 h 1017"/>
              <a:gd name="T66" fmla="*/ 681 w 909"/>
              <a:gd name="T67" fmla="*/ 573 h 1017"/>
              <a:gd name="T68" fmla="*/ 692 w 909"/>
              <a:gd name="T69" fmla="*/ 553 h 1017"/>
              <a:gd name="T70" fmla="*/ 702 w 909"/>
              <a:gd name="T71" fmla="*/ 486 h 1017"/>
              <a:gd name="T72" fmla="*/ 724 w 909"/>
              <a:gd name="T73" fmla="*/ 486 h 1017"/>
              <a:gd name="T74" fmla="*/ 739 w 909"/>
              <a:gd name="T75" fmla="*/ 432 h 1017"/>
              <a:gd name="T76" fmla="*/ 750 w 909"/>
              <a:gd name="T77" fmla="*/ 333 h 1017"/>
              <a:gd name="T78" fmla="*/ 735 w 909"/>
              <a:gd name="T79" fmla="*/ 331 h 1017"/>
              <a:gd name="T80" fmla="*/ 743 w 909"/>
              <a:gd name="T81" fmla="*/ 302 h 1017"/>
              <a:gd name="T82" fmla="*/ 752 w 909"/>
              <a:gd name="T83" fmla="*/ 258 h 1017"/>
              <a:gd name="T84" fmla="*/ 744 w 909"/>
              <a:gd name="T85" fmla="*/ 128 h 1017"/>
              <a:gd name="T86" fmla="*/ 728 w 909"/>
              <a:gd name="T87" fmla="*/ 78 h 1017"/>
              <a:gd name="T88" fmla="*/ 700 w 909"/>
              <a:gd name="T89" fmla="*/ 55 h 1017"/>
              <a:gd name="T90" fmla="*/ 674 w 909"/>
              <a:gd name="T91" fmla="*/ 58 h 1017"/>
              <a:gd name="T92" fmla="*/ 646 w 909"/>
              <a:gd name="T93" fmla="*/ 30 h 1017"/>
              <a:gd name="T94" fmla="*/ 602 w 909"/>
              <a:gd name="T95" fmla="*/ 7 h 1017"/>
              <a:gd name="T96" fmla="*/ 533 w 909"/>
              <a:gd name="T97" fmla="*/ 0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09" h="1017">
                <a:moveTo>
                  <a:pt x="533" y="0"/>
                </a:moveTo>
                <a:lnTo>
                  <a:pt x="516" y="0"/>
                </a:lnTo>
                <a:lnTo>
                  <a:pt x="499" y="1"/>
                </a:lnTo>
                <a:lnTo>
                  <a:pt x="482" y="4"/>
                </a:lnTo>
                <a:lnTo>
                  <a:pt x="465" y="7"/>
                </a:lnTo>
                <a:lnTo>
                  <a:pt x="449" y="13"/>
                </a:lnTo>
                <a:lnTo>
                  <a:pt x="435" y="21"/>
                </a:lnTo>
                <a:lnTo>
                  <a:pt x="428" y="24"/>
                </a:lnTo>
                <a:lnTo>
                  <a:pt x="421" y="30"/>
                </a:lnTo>
                <a:lnTo>
                  <a:pt x="415" y="34"/>
                </a:lnTo>
                <a:lnTo>
                  <a:pt x="410" y="40"/>
                </a:lnTo>
                <a:lnTo>
                  <a:pt x="388" y="64"/>
                </a:lnTo>
                <a:lnTo>
                  <a:pt x="370" y="87"/>
                </a:lnTo>
                <a:lnTo>
                  <a:pt x="361" y="99"/>
                </a:lnTo>
                <a:lnTo>
                  <a:pt x="354" y="110"/>
                </a:lnTo>
                <a:lnTo>
                  <a:pt x="348" y="121"/>
                </a:lnTo>
                <a:lnTo>
                  <a:pt x="342" y="134"/>
                </a:lnTo>
                <a:lnTo>
                  <a:pt x="337" y="145"/>
                </a:lnTo>
                <a:lnTo>
                  <a:pt x="333" y="157"/>
                </a:lnTo>
                <a:lnTo>
                  <a:pt x="330" y="170"/>
                </a:lnTo>
                <a:lnTo>
                  <a:pt x="327" y="183"/>
                </a:lnTo>
                <a:lnTo>
                  <a:pt x="326" y="197"/>
                </a:lnTo>
                <a:lnTo>
                  <a:pt x="326" y="210"/>
                </a:lnTo>
                <a:lnTo>
                  <a:pt x="326" y="224"/>
                </a:lnTo>
                <a:lnTo>
                  <a:pt x="327" y="240"/>
                </a:lnTo>
                <a:lnTo>
                  <a:pt x="335" y="289"/>
                </a:lnTo>
                <a:lnTo>
                  <a:pt x="341" y="319"/>
                </a:lnTo>
                <a:lnTo>
                  <a:pt x="344" y="333"/>
                </a:lnTo>
                <a:lnTo>
                  <a:pt x="345" y="338"/>
                </a:lnTo>
                <a:lnTo>
                  <a:pt x="340" y="335"/>
                </a:lnTo>
                <a:lnTo>
                  <a:pt x="330" y="330"/>
                </a:lnTo>
                <a:lnTo>
                  <a:pt x="326" y="330"/>
                </a:lnTo>
                <a:lnTo>
                  <a:pt x="324" y="330"/>
                </a:lnTo>
                <a:lnTo>
                  <a:pt x="321" y="330"/>
                </a:lnTo>
                <a:lnTo>
                  <a:pt x="318" y="331"/>
                </a:lnTo>
                <a:lnTo>
                  <a:pt x="317" y="333"/>
                </a:lnTo>
                <a:lnTo>
                  <a:pt x="316" y="337"/>
                </a:lnTo>
                <a:lnTo>
                  <a:pt x="315" y="341"/>
                </a:lnTo>
                <a:lnTo>
                  <a:pt x="315" y="346"/>
                </a:lnTo>
                <a:lnTo>
                  <a:pt x="319" y="383"/>
                </a:lnTo>
                <a:lnTo>
                  <a:pt x="327" y="432"/>
                </a:lnTo>
                <a:lnTo>
                  <a:pt x="332" y="454"/>
                </a:lnTo>
                <a:lnTo>
                  <a:pt x="337" y="474"/>
                </a:lnTo>
                <a:lnTo>
                  <a:pt x="341" y="481"/>
                </a:lnTo>
                <a:lnTo>
                  <a:pt x="343" y="486"/>
                </a:lnTo>
                <a:lnTo>
                  <a:pt x="346" y="489"/>
                </a:lnTo>
                <a:lnTo>
                  <a:pt x="349" y="489"/>
                </a:lnTo>
                <a:lnTo>
                  <a:pt x="362" y="486"/>
                </a:lnTo>
                <a:lnTo>
                  <a:pt x="365" y="486"/>
                </a:lnTo>
                <a:lnTo>
                  <a:pt x="366" y="497"/>
                </a:lnTo>
                <a:lnTo>
                  <a:pt x="368" y="523"/>
                </a:lnTo>
                <a:lnTo>
                  <a:pt x="371" y="538"/>
                </a:lnTo>
                <a:lnTo>
                  <a:pt x="375" y="553"/>
                </a:lnTo>
                <a:lnTo>
                  <a:pt x="377" y="559"/>
                </a:lnTo>
                <a:lnTo>
                  <a:pt x="379" y="565"/>
                </a:lnTo>
                <a:lnTo>
                  <a:pt x="383" y="570"/>
                </a:lnTo>
                <a:lnTo>
                  <a:pt x="386" y="573"/>
                </a:lnTo>
                <a:lnTo>
                  <a:pt x="405" y="593"/>
                </a:lnTo>
                <a:lnTo>
                  <a:pt x="411" y="601"/>
                </a:lnTo>
                <a:lnTo>
                  <a:pt x="413" y="625"/>
                </a:lnTo>
                <a:lnTo>
                  <a:pt x="388" y="623"/>
                </a:lnTo>
                <a:lnTo>
                  <a:pt x="387" y="629"/>
                </a:lnTo>
                <a:lnTo>
                  <a:pt x="384" y="645"/>
                </a:lnTo>
                <a:lnTo>
                  <a:pt x="381" y="650"/>
                </a:lnTo>
                <a:lnTo>
                  <a:pt x="378" y="655"/>
                </a:lnTo>
                <a:lnTo>
                  <a:pt x="375" y="661"/>
                </a:lnTo>
                <a:lnTo>
                  <a:pt x="370" y="666"/>
                </a:lnTo>
                <a:lnTo>
                  <a:pt x="365" y="671"/>
                </a:lnTo>
                <a:lnTo>
                  <a:pt x="358" y="677"/>
                </a:lnTo>
                <a:lnTo>
                  <a:pt x="350" y="681"/>
                </a:lnTo>
                <a:lnTo>
                  <a:pt x="341" y="687"/>
                </a:lnTo>
                <a:lnTo>
                  <a:pt x="315" y="698"/>
                </a:lnTo>
                <a:lnTo>
                  <a:pt x="280" y="713"/>
                </a:lnTo>
                <a:lnTo>
                  <a:pt x="239" y="730"/>
                </a:lnTo>
                <a:lnTo>
                  <a:pt x="194" y="749"/>
                </a:lnTo>
                <a:lnTo>
                  <a:pt x="149" y="768"/>
                </a:lnTo>
                <a:lnTo>
                  <a:pt x="107" y="786"/>
                </a:lnTo>
                <a:lnTo>
                  <a:pt x="89" y="795"/>
                </a:lnTo>
                <a:lnTo>
                  <a:pt x="72" y="803"/>
                </a:lnTo>
                <a:lnTo>
                  <a:pt x="59" y="810"/>
                </a:lnTo>
                <a:lnTo>
                  <a:pt x="47" y="818"/>
                </a:lnTo>
                <a:lnTo>
                  <a:pt x="30" y="829"/>
                </a:lnTo>
                <a:lnTo>
                  <a:pt x="18" y="841"/>
                </a:lnTo>
                <a:lnTo>
                  <a:pt x="13" y="846"/>
                </a:lnTo>
                <a:lnTo>
                  <a:pt x="9" y="851"/>
                </a:lnTo>
                <a:lnTo>
                  <a:pt x="7" y="856"/>
                </a:lnTo>
                <a:lnTo>
                  <a:pt x="3" y="862"/>
                </a:lnTo>
                <a:lnTo>
                  <a:pt x="1" y="873"/>
                </a:lnTo>
                <a:lnTo>
                  <a:pt x="0" y="887"/>
                </a:lnTo>
                <a:lnTo>
                  <a:pt x="0" y="904"/>
                </a:lnTo>
                <a:lnTo>
                  <a:pt x="0" y="922"/>
                </a:lnTo>
                <a:lnTo>
                  <a:pt x="2" y="960"/>
                </a:lnTo>
                <a:lnTo>
                  <a:pt x="3" y="989"/>
                </a:lnTo>
                <a:lnTo>
                  <a:pt x="4" y="1007"/>
                </a:lnTo>
                <a:lnTo>
                  <a:pt x="4" y="1012"/>
                </a:lnTo>
                <a:lnTo>
                  <a:pt x="454" y="1017"/>
                </a:lnTo>
                <a:lnTo>
                  <a:pt x="456" y="1005"/>
                </a:lnTo>
                <a:lnTo>
                  <a:pt x="459" y="996"/>
                </a:lnTo>
                <a:lnTo>
                  <a:pt x="464" y="986"/>
                </a:lnTo>
                <a:lnTo>
                  <a:pt x="471" y="977"/>
                </a:lnTo>
                <a:lnTo>
                  <a:pt x="479" y="968"/>
                </a:lnTo>
                <a:lnTo>
                  <a:pt x="490" y="958"/>
                </a:lnTo>
                <a:lnTo>
                  <a:pt x="502" y="948"/>
                </a:lnTo>
                <a:lnTo>
                  <a:pt x="518" y="938"/>
                </a:lnTo>
                <a:lnTo>
                  <a:pt x="533" y="929"/>
                </a:lnTo>
                <a:lnTo>
                  <a:pt x="551" y="919"/>
                </a:lnTo>
                <a:lnTo>
                  <a:pt x="571" y="908"/>
                </a:lnTo>
                <a:lnTo>
                  <a:pt x="595" y="897"/>
                </a:lnTo>
                <a:lnTo>
                  <a:pt x="648" y="873"/>
                </a:lnTo>
                <a:lnTo>
                  <a:pt x="704" y="850"/>
                </a:lnTo>
                <a:lnTo>
                  <a:pt x="763" y="825"/>
                </a:lnTo>
                <a:lnTo>
                  <a:pt x="820" y="802"/>
                </a:lnTo>
                <a:lnTo>
                  <a:pt x="869" y="782"/>
                </a:lnTo>
                <a:lnTo>
                  <a:pt x="909" y="764"/>
                </a:lnTo>
                <a:lnTo>
                  <a:pt x="882" y="752"/>
                </a:lnTo>
                <a:lnTo>
                  <a:pt x="855" y="741"/>
                </a:lnTo>
                <a:lnTo>
                  <a:pt x="828" y="730"/>
                </a:lnTo>
                <a:lnTo>
                  <a:pt x="803" y="720"/>
                </a:lnTo>
                <a:lnTo>
                  <a:pt x="779" y="710"/>
                </a:lnTo>
                <a:lnTo>
                  <a:pt x="758" y="702"/>
                </a:lnTo>
                <a:lnTo>
                  <a:pt x="739" y="694"/>
                </a:lnTo>
                <a:lnTo>
                  <a:pt x="726" y="687"/>
                </a:lnTo>
                <a:lnTo>
                  <a:pt x="717" y="681"/>
                </a:lnTo>
                <a:lnTo>
                  <a:pt x="709" y="677"/>
                </a:lnTo>
                <a:lnTo>
                  <a:pt x="702" y="671"/>
                </a:lnTo>
                <a:lnTo>
                  <a:pt x="697" y="666"/>
                </a:lnTo>
                <a:lnTo>
                  <a:pt x="692" y="661"/>
                </a:lnTo>
                <a:lnTo>
                  <a:pt x="689" y="655"/>
                </a:lnTo>
                <a:lnTo>
                  <a:pt x="685" y="650"/>
                </a:lnTo>
                <a:lnTo>
                  <a:pt x="683" y="645"/>
                </a:lnTo>
                <a:lnTo>
                  <a:pt x="678" y="629"/>
                </a:lnTo>
                <a:lnTo>
                  <a:pt x="678" y="623"/>
                </a:lnTo>
                <a:lnTo>
                  <a:pt x="654" y="625"/>
                </a:lnTo>
                <a:lnTo>
                  <a:pt x="656" y="601"/>
                </a:lnTo>
                <a:lnTo>
                  <a:pt x="662" y="593"/>
                </a:lnTo>
                <a:lnTo>
                  <a:pt x="681" y="573"/>
                </a:lnTo>
                <a:lnTo>
                  <a:pt x="684" y="570"/>
                </a:lnTo>
                <a:lnTo>
                  <a:pt x="686" y="565"/>
                </a:lnTo>
                <a:lnTo>
                  <a:pt x="690" y="559"/>
                </a:lnTo>
                <a:lnTo>
                  <a:pt x="692" y="553"/>
                </a:lnTo>
                <a:lnTo>
                  <a:pt x="695" y="538"/>
                </a:lnTo>
                <a:lnTo>
                  <a:pt x="698" y="523"/>
                </a:lnTo>
                <a:lnTo>
                  <a:pt x="701" y="497"/>
                </a:lnTo>
                <a:lnTo>
                  <a:pt x="702" y="486"/>
                </a:lnTo>
                <a:lnTo>
                  <a:pt x="704" y="486"/>
                </a:lnTo>
                <a:lnTo>
                  <a:pt x="718" y="489"/>
                </a:lnTo>
                <a:lnTo>
                  <a:pt x="720" y="489"/>
                </a:lnTo>
                <a:lnTo>
                  <a:pt x="724" y="486"/>
                </a:lnTo>
                <a:lnTo>
                  <a:pt x="726" y="481"/>
                </a:lnTo>
                <a:lnTo>
                  <a:pt x="729" y="474"/>
                </a:lnTo>
                <a:lnTo>
                  <a:pt x="734" y="454"/>
                </a:lnTo>
                <a:lnTo>
                  <a:pt x="739" y="432"/>
                </a:lnTo>
                <a:lnTo>
                  <a:pt x="747" y="383"/>
                </a:lnTo>
                <a:lnTo>
                  <a:pt x="752" y="346"/>
                </a:lnTo>
                <a:lnTo>
                  <a:pt x="752" y="339"/>
                </a:lnTo>
                <a:lnTo>
                  <a:pt x="750" y="333"/>
                </a:lnTo>
                <a:lnTo>
                  <a:pt x="747" y="331"/>
                </a:lnTo>
                <a:lnTo>
                  <a:pt x="744" y="330"/>
                </a:lnTo>
                <a:lnTo>
                  <a:pt x="739" y="330"/>
                </a:lnTo>
                <a:lnTo>
                  <a:pt x="735" y="331"/>
                </a:lnTo>
                <a:lnTo>
                  <a:pt x="732" y="332"/>
                </a:lnTo>
                <a:lnTo>
                  <a:pt x="727" y="335"/>
                </a:lnTo>
                <a:lnTo>
                  <a:pt x="735" y="319"/>
                </a:lnTo>
                <a:lnTo>
                  <a:pt x="743" y="302"/>
                </a:lnTo>
                <a:lnTo>
                  <a:pt x="746" y="294"/>
                </a:lnTo>
                <a:lnTo>
                  <a:pt x="748" y="284"/>
                </a:lnTo>
                <a:lnTo>
                  <a:pt x="751" y="271"/>
                </a:lnTo>
                <a:lnTo>
                  <a:pt x="752" y="258"/>
                </a:lnTo>
                <a:lnTo>
                  <a:pt x="753" y="227"/>
                </a:lnTo>
                <a:lnTo>
                  <a:pt x="752" y="195"/>
                </a:lnTo>
                <a:lnTo>
                  <a:pt x="748" y="161"/>
                </a:lnTo>
                <a:lnTo>
                  <a:pt x="744" y="128"/>
                </a:lnTo>
                <a:lnTo>
                  <a:pt x="741" y="113"/>
                </a:lnTo>
                <a:lnTo>
                  <a:pt x="737" y="101"/>
                </a:lnTo>
                <a:lnTo>
                  <a:pt x="733" y="88"/>
                </a:lnTo>
                <a:lnTo>
                  <a:pt x="728" y="78"/>
                </a:lnTo>
                <a:lnTo>
                  <a:pt x="721" y="69"/>
                </a:lnTo>
                <a:lnTo>
                  <a:pt x="715" y="61"/>
                </a:lnTo>
                <a:lnTo>
                  <a:pt x="708" y="57"/>
                </a:lnTo>
                <a:lnTo>
                  <a:pt x="700" y="55"/>
                </a:lnTo>
                <a:lnTo>
                  <a:pt x="693" y="53"/>
                </a:lnTo>
                <a:lnTo>
                  <a:pt x="686" y="55"/>
                </a:lnTo>
                <a:lnTo>
                  <a:pt x="680" y="56"/>
                </a:lnTo>
                <a:lnTo>
                  <a:pt x="674" y="58"/>
                </a:lnTo>
                <a:lnTo>
                  <a:pt x="666" y="49"/>
                </a:lnTo>
                <a:lnTo>
                  <a:pt x="657" y="40"/>
                </a:lnTo>
                <a:lnTo>
                  <a:pt x="651" y="34"/>
                </a:lnTo>
                <a:lnTo>
                  <a:pt x="646" y="30"/>
                </a:lnTo>
                <a:lnTo>
                  <a:pt x="639" y="24"/>
                </a:lnTo>
                <a:lnTo>
                  <a:pt x="632" y="21"/>
                </a:lnTo>
                <a:lnTo>
                  <a:pt x="617" y="13"/>
                </a:lnTo>
                <a:lnTo>
                  <a:pt x="602" y="7"/>
                </a:lnTo>
                <a:lnTo>
                  <a:pt x="585" y="4"/>
                </a:lnTo>
                <a:lnTo>
                  <a:pt x="568" y="1"/>
                </a:lnTo>
                <a:lnTo>
                  <a:pt x="551" y="0"/>
                </a:lnTo>
                <a:lnTo>
                  <a:pt x="533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6350" cap="flat" cmpd="sng" algn="ctr">
            <a:noFill/>
            <a:prstDash val="solid"/>
          </a:ln>
          <a:effectLst>
            <a:innerShdw blurRad="63500" dist="50800" dir="13500000">
              <a:srgbClr val="000000">
                <a:alpha val="27000"/>
              </a:srgbClr>
            </a:innerShdw>
            <a:reflection stA="9000" endPos="45000" dist="12700" dir="5400000" sy="-100000" algn="bl" rotWithShape="0"/>
          </a:effectLst>
        </p:spPr>
        <p:txBody>
          <a:bodyPr anchor="ctr"/>
          <a:lstStyle/>
          <a:p>
            <a:pPr marL="342900" indent="-342900" algn="ctr">
              <a:buFont typeface="Calibri" charset="0"/>
              <a:buAutoNum type="arabicPeriod"/>
              <a:defRPr/>
            </a:pPr>
            <a:endParaRPr lang="en-US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ＭＳ Ｐゴシック" charset="-128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5" name="Rectangle 27"/>
          <p:cNvSpPr>
            <a:spLocks noChangeArrowheads="1"/>
          </p:cNvSpPr>
          <p:nvPr/>
        </p:nvSpPr>
        <p:spPr bwMode="auto">
          <a:xfrm>
            <a:off x="4598988" y="3902090"/>
            <a:ext cx="1803400" cy="1670050"/>
          </a:xfrm>
          <a:prstGeom prst="rect">
            <a:avLst/>
          </a:prstGeom>
          <a:solidFill>
            <a:schemeClr val="bg1">
              <a:lumMod val="75000"/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56" name="TextBox 10"/>
          <p:cNvSpPr txBox="1">
            <a:spLocks noChangeArrowheads="1"/>
          </p:cNvSpPr>
          <p:nvPr/>
        </p:nvSpPr>
        <p:spPr bwMode="auto">
          <a:xfrm>
            <a:off x="6626225" y="4189427"/>
            <a:ext cx="18176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fr-FR" b="1" dirty="0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Budget</a:t>
            </a:r>
            <a:endParaRPr lang="en-US" sz="1200" dirty="0">
              <a:solidFill>
                <a:schemeClr val="tx2">
                  <a:lumMod val="75000"/>
                </a:schemeClr>
              </a:solidFill>
              <a:latin typeface="Calibri" charset="0"/>
            </a:endParaRPr>
          </a:p>
        </p:txBody>
      </p:sp>
      <p:pic>
        <p:nvPicPr>
          <p:cNvPr id="2050" name="Picture 2" descr="http://www.modernecohomes.com/wp-content/uploads/2014/09/money-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5679" y="4082933"/>
            <a:ext cx="1540080" cy="119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459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Analyse</a:t>
            </a:r>
            <a:r>
              <a:rPr lang="en-US" dirty="0" smtClean="0"/>
              <a:t> de </a:t>
            </a:r>
            <a:r>
              <a:rPr lang="en-US" dirty="0" err="1" smtClean="0"/>
              <a:t>l’existant</a:t>
            </a:r>
            <a:r>
              <a:rPr lang="en-US" dirty="0" smtClean="0"/>
              <a:t> SOURCES </a:t>
            </a:r>
            <a:endParaRPr lang="en-US" dirty="0"/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19CF00-AE30-45AC-A0F3-222CEA30FB4A}" type="slidenum">
              <a:rPr lang="da-DK" smtClean="0"/>
              <a:pPr>
                <a:defRPr/>
              </a:pPr>
              <a:t>3</a:t>
            </a:fld>
            <a:endParaRPr lang="da-DK"/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80988" y="2705100"/>
            <a:ext cx="8647112" cy="2241550"/>
          </a:xfrm>
          <a:prstGeom prst="rect">
            <a:avLst/>
          </a:prstGeom>
          <a:solidFill>
            <a:schemeClr val="bg1"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Contexte</a:t>
            </a:r>
            <a:r>
              <a:rPr lang="en-US" dirty="0" smtClean="0"/>
              <a:t> du </a:t>
            </a:r>
            <a:r>
              <a:rPr lang="en-US" dirty="0" err="1" smtClean="0"/>
              <a:t>Proje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194" y="1128713"/>
            <a:ext cx="6362700" cy="2933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194" y="4202723"/>
            <a:ext cx="6362700" cy="211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185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Analyse</a:t>
            </a:r>
            <a:r>
              <a:rPr lang="en-US" dirty="0" smtClean="0"/>
              <a:t> de </a:t>
            </a:r>
            <a:r>
              <a:rPr lang="en-US" dirty="0" err="1" smtClean="0"/>
              <a:t>l’existant</a:t>
            </a:r>
            <a:r>
              <a:rPr lang="en-US" dirty="0" smtClean="0"/>
              <a:t> </a:t>
            </a:r>
            <a:r>
              <a:rPr lang="en-US" i="1" dirty="0" smtClean="0"/>
              <a:t>REPORTING</a:t>
            </a:r>
            <a:endParaRPr lang="en-US" i="1" dirty="0"/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19CF00-AE30-45AC-A0F3-222CEA30FB4A}" type="slidenum">
              <a:rPr lang="da-DK" smtClean="0"/>
              <a:pPr>
                <a:defRPr/>
              </a:pPr>
              <a:t>4</a:t>
            </a:fld>
            <a:endParaRPr lang="da-DK"/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80988" y="2705100"/>
            <a:ext cx="8647112" cy="2241550"/>
          </a:xfrm>
          <a:prstGeom prst="rect">
            <a:avLst/>
          </a:prstGeom>
          <a:solidFill>
            <a:schemeClr val="bg1"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Contexte</a:t>
            </a:r>
            <a:r>
              <a:rPr lang="en-US" dirty="0" smtClean="0"/>
              <a:t> du </a:t>
            </a:r>
            <a:r>
              <a:rPr lang="en-US" dirty="0" err="1" smtClean="0"/>
              <a:t>Proje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59" y="1244112"/>
            <a:ext cx="7968369" cy="4523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6097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evron 74"/>
          <p:cNvSpPr/>
          <p:nvPr>
            <p:custDataLst>
              <p:tags r:id="rId1"/>
            </p:custDataLst>
          </p:nvPr>
        </p:nvSpPr>
        <p:spPr>
          <a:xfrm rot="5400000">
            <a:off x="1081088" y="1525587"/>
            <a:ext cx="1454150" cy="1577975"/>
          </a:xfrm>
          <a:custGeom>
            <a:avLst/>
            <a:gdLst/>
            <a:ahLst/>
            <a:cxnLst/>
            <a:rect l="l" t="t" r="r" b="b"/>
            <a:pathLst>
              <a:path w="1453137" h="1577615">
                <a:moveTo>
                  <a:pt x="1326721" y="1307176"/>
                </a:moveTo>
                <a:lnTo>
                  <a:pt x="1331414" y="1301586"/>
                </a:lnTo>
                <a:lnTo>
                  <a:pt x="1326721" y="1295996"/>
                </a:lnTo>
                <a:close/>
                <a:moveTo>
                  <a:pt x="0" y="1577615"/>
                </a:moveTo>
                <a:lnTo>
                  <a:pt x="0" y="0"/>
                </a:lnTo>
                <a:lnTo>
                  <a:pt x="1326721" y="0"/>
                </a:lnTo>
                <a:lnTo>
                  <a:pt x="1326721" y="1151010"/>
                </a:lnTo>
                <a:lnTo>
                  <a:pt x="1453137" y="1301586"/>
                </a:lnTo>
                <a:lnTo>
                  <a:pt x="1326721" y="1452162"/>
                </a:lnTo>
                <a:lnTo>
                  <a:pt x="1326721" y="15776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>
              <a:solidFill>
                <a:srgbClr val="984807"/>
              </a:solidFill>
            </a:endParaRPr>
          </a:p>
        </p:txBody>
      </p:sp>
      <p:sp>
        <p:nvSpPr>
          <p:cNvPr id="3" name="Rectangle 5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97150" y="1587500"/>
            <a:ext cx="2320925" cy="1325563"/>
          </a:xfrm>
          <a:prstGeom prst="rect">
            <a:avLst/>
          </a:prstGeom>
          <a:solidFill>
            <a:schemeClr val="bg1">
              <a:lumMod val="85000"/>
              <a:alpha val="7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4" name="Freeform 49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1335088" y="1809750"/>
            <a:ext cx="939800" cy="939800"/>
          </a:xfrm>
          <a:custGeom>
            <a:avLst/>
            <a:gdLst>
              <a:gd name="T0" fmla="*/ 2147483647 w 7557"/>
              <a:gd name="T1" fmla="*/ 2147483647 h 7556"/>
              <a:gd name="T2" fmla="*/ 2147483647 w 7557"/>
              <a:gd name="T3" fmla="*/ 2147483647 h 7556"/>
              <a:gd name="T4" fmla="*/ 2147483647 w 7557"/>
              <a:gd name="T5" fmla="*/ 2147483647 h 7556"/>
              <a:gd name="T6" fmla="*/ 2147483647 w 7557"/>
              <a:gd name="T7" fmla="*/ 2147483647 h 7556"/>
              <a:gd name="T8" fmla="*/ 2147483647 w 7557"/>
              <a:gd name="T9" fmla="*/ 2147483647 h 7556"/>
              <a:gd name="T10" fmla="*/ 2147483647 w 7557"/>
              <a:gd name="T11" fmla="*/ 2147483647 h 7556"/>
              <a:gd name="T12" fmla="*/ 2147483647 w 7557"/>
              <a:gd name="T13" fmla="*/ 2147483647 h 7556"/>
              <a:gd name="T14" fmla="*/ 2147483647 w 7557"/>
              <a:gd name="T15" fmla="*/ 2147483647 h 7556"/>
              <a:gd name="T16" fmla="*/ 2147483647 w 7557"/>
              <a:gd name="T17" fmla="*/ 2147483647 h 7556"/>
              <a:gd name="T18" fmla="*/ 2147483647 w 7557"/>
              <a:gd name="T19" fmla="*/ 2147483647 h 7556"/>
              <a:gd name="T20" fmla="*/ 2147483647 w 7557"/>
              <a:gd name="T21" fmla="*/ 2147483647 h 7556"/>
              <a:gd name="T22" fmla="*/ 2147483647 w 7557"/>
              <a:gd name="T23" fmla="*/ 2147483647 h 7556"/>
              <a:gd name="T24" fmla="*/ 2147483647 w 7557"/>
              <a:gd name="T25" fmla="*/ 2147483647 h 7556"/>
              <a:gd name="T26" fmla="*/ 2147483647 w 7557"/>
              <a:gd name="T27" fmla="*/ 2147483647 h 7556"/>
              <a:gd name="T28" fmla="*/ 2147483647 w 7557"/>
              <a:gd name="T29" fmla="*/ 2147483647 h 7556"/>
              <a:gd name="T30" fmla="*/ 2147483647 w 7557"/>
              <a:gd name="T31" fmla="*/ 2147483647 h 7556"/>
              <a:gd name="T32" fmla="*/ 2147483647 w 7557"/>
              <a:gd name="T33" fmla="*/ 2147483647 h 7556"/>
              <a:gd name="T34" fmla="*/ 2147483647 w 7557"/>
              <a:gd name="T35" fmla="*/ 2147483647 h 7556"/>
              <a:gd name="T36" fmla="*/ 2147483647 w 7557"/>
              <a:gd name="T37" fmla="*/ 2147483647 h 7556"/>
              <a:gd name="T38" fmla="*/ 2147483647 w 7557"/>
              <a:gd name="T39" fmla="*/ 2147483647 h 7556"/>
              <a:gd name="T40" fmla="*/ 2147483647 w 7557"/>
              <a:gd name="T41" fmla="*/ 2147483647 h 7556"/>
              <a:gd name="T42" fmla="*/ 2147483647 w 7557"/>
              <a:gd name="T43" fmla="*/ 2147483647 h 7556"/>
              <a:gd name="T44" fmla="*/ 2147483647 w 7557"/>
              <a:gd name="T45" fmla="*/ 2147483647 h 7556"/>
              <a:gd name="T46" fmla="*/ 2147483647 w 7557"/>
              <a:gd name="T47" fmla="*/ 2147483647 h 7556"/>
              <a:gd name="T48" fmla="*/ 2147483647 w 7557"/>
              <a:gd name="T49" fmla="*/ 2147483647 h 7556"/>
              <a:gd name="T50" fmla="*/ 2147483647 w 7557"/>
              <a:gd name="T51" fmla="*/ 2147483647 h 7556"/>
              <a:gd name="T52" fmla="*/ 2147483647 w 7557"/>
              <a:gd name="T53" fmla="*/ 2147483647 h 7556"/>
              <a:gd name="T54" fmla="*/ 2147483647 w 7557"/>
              <a:gd name="T55" fmla="*/ 2147483647 h 7556"/>
              <a:gd name="T56" fmla="*/ 2147483647 w 7557"/>
              <a:gd name="T57" fmla="*/ 2147483647 h 7556"/>
              <a:gd name="T58" fmla="*/ 2147483647 w 7557"/>
              <a:gd name="T59" fmla="*/ 2147483647 h 7556"/>
              <a:gd name="T60" fmla="*/ 2147483647 w 7557"/>
              <a:gd name="T61" fmla="*/ 2147483647 h 7556"/>
              <a:gd name="T62" fmla="*/ 2147483647 w 7557"/>
              <a:gd name="T63" fmla="*/ 2147483647 h 7556"/>
              <a:gd name="T64" fmla="*/ 2147483647 w 7557"/>
              <a:gd name="T65" fmla="*/ 2147483647 h 7556"/>
              <a:gd name="T66" fmla="*/ 2147483647 w 7557"/>
              <a:gd name="T67" fmla="*/ 2147483647 h 7556"/>
              <a:gd name="T68" fmla="*/ 2147483647 w 7557"/>
              <a:gd name="T69" fmla="*/ 2147483647 h 7556"/>
              <a:gd name="T70" fmla="*/ 2147483647 w 7557"/>
              <a:gd name="T71" fmla="*/ 2147483647 h 7556"/>
              <a:gd name="T72" fmla="*/ 2147483647 w 7557"/>
              <a:gd name="T73" fmla="*/ 2147483647 h 7556"/>
              <a:gd name="T74" fmla="*/ 2147483647 w 7557"/>
              <a:gd name="T75" fmla="*/ 2147483647 h 7556"/>
              <a:gd name="T76" fmla="*/ 2147483647 w 7557"/>
              <a:gd name="T77" fmla="*/ 2147483647 h 7556"/>
              <a:gd name="T78" fmla="*/ 2147483647 w 7557"/>
              <a:gd name="T79" fmla="*/ 2147483647 h 7556"/>
              <a:gd name="T80" fmla="*/ 2147483647 w 7557"/>
              <a:gd name="T81" fmla="*/ 2147483647 h 7556"/>
              <a:gd name="T82" fmla="*/ 2147483647 w 7557"/>
              <a:gd name="T83" fmla="*/ 2147483647 h 7556"/>
              <a:gd name="T84" fmla="*/ 2147483647 w 7557"/>
              <a:gd name="T85" fmla="*/ 2147483647 h 7556"/>
              <a:gd name="T86" fmla="*/ 2147483647 w 7557"/>
              <a:gd name="T87" fmla="*/ 2147483647 h 7556"/>
              <a:gd name="T88" fmla="*/ 2147483647 w 7557"/>
              <a:gd name="T89" fmla="*/ 2147483647 h 7556"/>
              <a:gd name="T90" fmla="*/ 2147483647 w 7557"/>
              <a:gd name="T91" fmla="*/ 2147483647 h 7556"/>
              <a:gd name="T92" fmla="*/ 2147483647 w 7557"/>
              <a:gd name="T93" fmla="*/ 2147483647 h 7556"/>
              <a:gd name="T94" fmla="*/ 2147483647 w 7557"/>
              <a:gd name="T95" fmla="*/ 2147483647 h 7556"/>
              <a:gd name="T96" fmla="*/ 2147483647 w 7557"/>
              <a:gd name="T97" fmla="*/ 2147483647 h 7556"/>
              <a:gd name="T98" fmla="*/ 2147483647 w 7557"/>
              <a:gd name="T99" fmla="*/ 2147483647 h 7556"/>
              <a:gd name="T100" fmla="*/ 2147483647 w 7557"/>
              <a:gd name="T101" fmla="*/ 2147483647 h 7556"/>
              <a:gd name="T102" fmla="*/ 2147483647 w 7557"/>
              <a:gd name="T103" fmla="*/ 2147483647 h 7556"/>
              <a:gd name="T104" fmla="*/ 2147483647 w 7557"/>
              <a:gd name="T105" fmla="*/ 2147483647 h 7556"/>
              <a:gd name="T106" fmla="*/ 2147483647 w 7557"/>
              <a:gd name="T107" fmla="*/ 2147483647 h 7556"/>
              <a:gd name="T108" fmla="*/ 2147483647 w 7557"/>
              <a:gd name="T109" fmla="*/ 2147483647 h 7556"/>
              <a:gd name="T110" fmla="*/ 2147483647 w 7557"/>
              <a:gd name="T111" fmla="*/ 2147483647 h 7556"/>
              <a:gd name="T112" fmla="*/ 2147483647 w 7557"/>
              <a:gd name="T113" fmla="*/ 2147483647 h 7556"/>
              <a:gd name="T114" fmla="*/ 2147483647 w 7557"/>
              <a:gd name="T115" fmla="*/ 2147483647 h 7556"/>
              <a:gd name="T116" fmla="*/ 2147483647 w 7557"/>
              <a:gd name="T117" fmla="*/ 2147483647 h 7556"/>
              <a:gd name="T118" fmla="*/ 2147483647 w 7557"/>
              <a:gd name="T119" fmla="*/ 2147483647 h 7556"/>
              <a:gd name="T120" fmla="*/ 2147483647 w 7557"/>
              <a:gd name="T121" fmla="*/ 2147483647 h 7556"/>
              <a:gd name="T122" fmla="*/ 2147483647 w 7557"/>
              <a:gd name="T123" fmla="*/ 2147483647 h 7556"/>
              <a:gd name="T124" fmla="*/ 2147483647 w 7557"/>
              <a:gd name="T125" fmla="*/ 2147483647 h 755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557" h="7556">
                <a:moveTo>
                  <a:pt x="3779" y="0"/>
                </a:moveTo>
                <a:lnTo>
                  <a:pt x="3973" y="5"/>
                </a:lnTo>
                <a:lnTo>
                  <a:pt x="4165" y="20"/>
                </a:lnTo>
                <a:lnTo>
                  <a:pt x="4355" y="43"/>
                </a:lnTo>
                <a:lnTo>
                  <a:pt x="4540" y="77"/>
                </a:lnTo>
                <a:lnTo>
                  <a:pt x="4723" y="118"/>
                </a:lnTo>
                <a:lnTo>
                  <a:pt x="4903" y="170"/>
                </a:lnTo>
                <a:lnTo>
                  <a:pt x="5078" y="230"/>
                </a:lnTo>
                <a:lnTo>
                  <a:pt x="5250" y="297"/>
                </a:lnTo>
                <a:lnTo>
                  <a:pt x="5417" y="373"/>
                </a:lnTo>
                <a:lnTo>
                  <a:pt x="5580" y="456"/>
                </a:lnTo>
                <a:lnTo>
                  <a:pt x="5738" y="547"/>
                </a:lnTo>
                <a:lnTo>
                  <a:pt x="5892" y="645"/>
                </a:lnTo>
                <a:lnTo>
                  <a:pt x="6040" y="751"/>
                </a:lnTo>
                <a:lnTo>
                  <a:pt x="6182" y="863"/>
                </a:lnTo>
                <a:lnTo>
                  <a:pt x="6319" y="982"/>
                </a:lnTo>
                <a:lnTo>
                  <a:pt x="6451" y="1106"/>
                </a:lnTo>
                <a:lnTo>
                  <a:pt x="6576" y="1238"/>
                </a:lnTo>
                <a:lnTo>
                  <a:pt x="6694" y="1375"/>
                </a:lnTo>
                <a:lnTo>
                  <a:pt x="6806" y="1517"/>
                </a:lnTo>
                <a:lnTo>
                  <a:pt x="6913" y="1666"/>
                </a:lnTo>
                <a:lnTo>
                  <a:pt x="7010" y="1819"/>
                </a:lnTo>
                <a:lnTo>
                  <a:pt x="7101" y="1978"/>
                </a:lnTo>
                <a:lnTo>
                  <a:pt x="7185" y="2140"/>
                </a:lnTo>
                <a:lnTo>
                  <a:pt x="7261" y="2307"/>
                </a:lnTo>
                <a:lnTo>
                  <a:pt x="7328" y="2479"/>
                </a:lnTo>
                <a:lnTo>
                  <a:pt x="7388" y="2654"/>
                </a:lnTo>
                <a:lnTo>
                  <a:pt x="7438" y="2834"/>
                </a:lnTo>
                <a:lnTo>
                  <a:pt x="7480" y="3017"/>
                </a:lnTo>
                <a:lnTo>
                  <a:pt x="7514" y="3202"/>
                </a:lnTo>
                <a:lnTo>
                  <a:pt x="7538" y="3392"/>
                </a:lnTo>
                <a:lnTo>
                  <a:pt x="7552" y="3583"/>
                </a:lnTo>
                <a:lnTo>
                  <a:pt x="7557" y="3778"/>
                </a:lnTo>
                <a:lnTo>
                  <a:pt x="7552" y="3973"/>
                </a:lnTo>
                <a:lnTo>
                  <a:pt x="7538" y="4164"/>
                </a:lnTo>
                <a:lnTo>
                  <a:pt x="7514" y="4354"/>
                </a:lnTo>
                <a:lnTo>
                  <a:pt x="7480" y="4539"/>
                </a:lnTo>
                <a:lnTo>
                  <a:pt x="7438" y="4723"/>
                </a:lnTo>
                <a:lnTo>
                  <a:pt x="7388" y="4902"/>
                </a:lnTo>
                <a:lnTo>
                  <a:pt x="7328" y="5077"/>
                </a:lnTo>
                <a:lnTo>
                  <a:pt x="7261" y="5249"/>
                </a:lnTo>
                <a:lnTo>
                  <a:pt x="7185" y="5416"/>
                </a:lnTo>
                <a:lnTo>
                  <a:pt x="7101" y="5578"/>
                </a:lnTo>
                <a:lnTo>
                  <a:pt x="7010" y="5737"/>
                </a:lnTo>
                <a:lnTo>
                  <a:pt x="6913" y="5891"/>
                </a:lnTo>
                <a:lnTo>
                  <a:pt x="6806" y="6039"/>
                </a:lnTo>
                <a:lnTo>
                  <a:pt x="6694" y="6181"/>
                </a:lnTo>
                <a:lnTo>
                  <a:pt x="6576" y="6318"/>
                </a:lnTo>
                <a:lnTo>
                  <a:pt x="6451" y="6450"/>
                </a:lnTo>
                <a:lnTo>
                  <a:pt x="6319" y="6574"/>
                </a:lnTo>
                <a:lnTo>
                  <a:pt x="6182" y="6693"/>
                </a:lnTo>
                <a:lnTo>
                  <a:pt x="6040" y="6805"/>
                </a:lnTo>
                <a:lnTo>
                  <a:pt x="5892" y="6910"/>
                </a:lnTo>
                <a:lnTo>
                  <a:pt x="5738" y="7009"/>
                </a:lnTo>
                <a:lnTo>
                  <a:pt x="5580" y="7100"/>
                </a:lnTo>
                <a:lnTo>
                  <a:pt x="5417" y="7183"/>
                </a:lnTo>
                <a:lnTo>
                  <a:pt x="5250" y="7259"/>
                </a:lnTo>
                <a:lnTo>
                  <a:pt x="5078" y="7326"/>
                </a:lnTo>
                <a:lnTo>
                  <a:pt x="4903" y="7386"/>
                </a:lnTo>
                <a:lnTo>
                  <a:pt x="4723" y="7437"/>
                </a:lnTo>
                <a:lnTo>
                  <a:pt x="4540" y="7479"/>
                </a:lnTo>
                <a:lnTo>
                  <a:pt x="4355" y="7513"/>
                </a:lnTo>
                <a:lnTo>
                  <a:pt x="4165" y="7537"/>
                </a:lnTo>
                <a:lnTo>
                  <a:pt x="3973" y="7551"/>
                </a:lnTo>
                <a:lnTo>
                  <a:pt x="3779" y="7556"/>
                </a:lnTo>
                <a:lnTo>
                  <a:pt x="3584" y="7551"/>
                </a:lnTo>
                <a:lnTo>
                  <a:pt x="3392" y="7537"/>
                </a:lnTo>
                <a:lnTo>
                  <a:pt x="3203" y="7513"/>
                </a:lnTo>
                <a:lnTo>
                  <a:pt x="3017" y="7479"/>
                </a:lnTo>
                <a:lnTo>
                  <a:pt x="2834" y="7437"/>
                </a:lnTo>
                <a:lnTo>
                  <a:pt x="2655" y="7386"/>
                </a:lnTo>
                <a:lnTo>
                  <a:pt x="2480" y="7326"/>
                </a:lnTo>
                <a:lnTo>
                  <a:pt x="2308" y="7259"/>
                </a:lnTo>
                <a:lnTo>
                  <a:pt x="2141" y="7183"/>
                </a:lnTo>
                <a:lnTo>
                  <a:pt x="1978" y="7100"/>
                </a:lnTo>
                <a:lnTo>
                  <a:pt x="1819" y="7009"/>
                </a:lnTo>
                <a:lnTo>
                  <a:pt x="1666" y="6910"/>
                </a:lnTo>
                <a:lnTo>
                  <a:pt x="1517" y="6805"/>
                </a:lnTo>
                <a:lnTo>
                  <a:pt x="1375" y="6693"/>
                </a:lnTo>
                <a:lnTo>
                  <a:pt x="1238" y="6574"/>
                </a:lnTo>
                <a:lnTo>
                  <a:pt x="1106" y="6450"/>
                </a:lnTo>
                <a:lnTo>
                  <a:pt x="982" y="6318"/>
                </a:lnTo>
                <a:lnTo>
                  <a:pt x="863" y="6181"/>
                </a:lnTo>
                <a:lnTo>
                  <a:pt x="751" y="6039"/>
                </a:lnTo>
                <a:lnTo>
                  <a:pt x="645" y="5891"/>
                </a:lnTo>
                <a:lnTo>
                  <a:pt x="547" y="5737"/>
                </a:lnTo>
                <a:lnTo>
                  <a:pt x="456" y="5578"/>
                </a:lnTo>
                <a:lnTo>
                  <a:pt x="373" y="5416"/>
                </a:lnTo>
                <a:lnTo>
                  <a:pt x="297" y="5249"/>
                </a:lnTo>
                <a:lnTo>
                  <a:pt x="230" y="5077"/>
                </a:lnTo>
                <a:lnTo>
                  <a:pt x="170" y="4902"/>
                </a:lnTo>
                <a:lnTo>
                  <a:pt x="118" y="4723"/>
                </a:lnTo>
                <a:lnTo>
                  <a:pt x="77" y="4539"/>
                </a:lnTo>
                <a:lnTo>
                  <a:pt x="43" y="4354"/>
                </a:lnTo>
                <a:lnTo>
                  <a:pt x="20" y="4164"/>
                </a:lnTo>
                <a:lnTo>
                  <a:pt x="5" y="3973"/>
                </a:lnTo>
                <a:lnTo>
                  <a:pt x="0" y="3778"/>
                </a:lnTo>
                <a:lnTo>
                  <a:pt x="5" y="3583"/>
                </a:lnTo>
                <a:lnTo>
                  <a:pt x="20" y="3392"/>
                </a:lnTo>
                <a:lnTo>
                  <a:pt x="43" y="3202"/>
                </a:lnTo>
                <a:lnTo>
                  <a:pt x="77" y="3017"/>
                </a:lnTo>
                <a:lnTo>
                  <a:pt x="118" y="2834"/>
                </a:lnTo>
                <a:lnTo>
                  <a:pt x="170" y="2654"/>
                </a:lnTo>
                <a:lnTo>
                  <a:pt x="230" y="2479"/>
                </a:lnTo>
                <a:lnTo>
                  <a:pt x="297" y="2307"/>
                </a:lnTo>
                <a:lnTo>
                  <a:pt x="373" y="2140"/>
                </a:lnTo>
                <a:lnTo>
                  <a:pt x="456" y="1978"/>
                </a:lnTo>
                <a:lnTo>
                  <a:pt x="547" y="1819"/>
                </a:lnTo>
                <a:lnTo>
                  <a:pt x="645" y="1666"/>
                </a:lnTo>
                <a:lnTo>
                  <a:pt x="751" y="1517"/>
                </a:lnTo>
                <a:lnTo>
                  <a:pt x="863" y="1375"/>
                </a:lnTo>
                <a:lnTo>
                  <a:pt x="982" y="1238"/>
                </a:lnTo>
                <a:lnTo>
                  <a:pt x="1106" y="1106"/>
                </a:lnTo>
                <a:lnTo>
                  <a:pt x="1238" y="982"/>
                </a:lnTo>
                <a:lnTo>
                  <a:pt x="1375" y="863"/>
                </a:lnTo>
                <a:lnTo>
                  <a:pt x="1517" y="751"/>
                </a:lnTo>
                <a:lnTo>
                  <a:pt x="1666" y="645"/>
                </a:lnTo>
                <a:lnTo>
                  <a:pt x="1819" y="547"/>
                </a:lnTo>
                <a:lnTo>
                  <a:pt x="1978" y="456"/>
                </a:lnTo>
                <a:lnTo>
                  <a:pt x="2141" y="373"/>
                </a:lnTo>
                <a:lnTo>
                  <a:pt x="2308" y="297"/>
                </a:lnTo>
                <a:lnTo>
                  <a:pt x="2480" y="230"/>
                </a:lnTo>
                <a:lnTo>
                  <a:pt x="2655" y="170"/>
                </a:lnTo>
                <a:lnTo>
                  <a:pt x="2834" y="118"/>
                </a:lnTo>
                <a:lnTo>
                  <a:pt x="3017" y="77"/>
                </a:lnTo>
                <a:lnTo>
                  <a:pt x="3203" y="43"/>
                </a:lnTo>
                <a:lnTo>
                  <a:pt x="3392" y="20"/>
                </a:lnTo>
                <a:lnTo>
                  <a:pt x="3584" y="5"/>
                </a:lnTo>
                <a:lnTo>
                  <a:pt x="3779" y="0"/>
                </a:lnTo>
                <a:close/>
                <a:moveTo>
                  <a:pt x="6137" y="5977"/>
                </a:moveTo>
                <a:lnTo>
                  <a:pt x="6145" y="6000"/>
                </a:lnTo>
                <a:lnTo>
                  <a:pt x="6152" y="6022"/>
                </a:lnTo>
                <a:lnTo>
                  <a:pt x="6158" y="6043"/>
                </a:lnTo>
                <a:lnTo>
                  <a:pt x="6164" y="6063"/>
                </a:lnTo>
                <a:lnTo>
                  <a:pt x="6168" y="6081"/>
                </a:lnTo>
                <a:lnTo>
                  <a:pt x="6171" y="6099"/>
                </a:lnTo>
                <a:lnTo>
                  <a:pt x="6173" y="6115"/>
                </a:lnTo>
                <a:lnTo>
                  <a:pt x="6174" y="6130"/>
                </a:lnTo>
                <a:lnTo>
                  <a:pt x="6174" y="6144"/>
                </a:lnTo>
                <a:lnTo>
                  <a:pt x="6173" y="6157"/>
                </a:lnTo>
                <a:lnTo>
                  <a:pt x="6170" y="6171"/>
                </a:lnTo>
                <a:lnTo>
                  <a:pt x="6167" y="6182"/>
                </a:lnTo>
                <a:lnTo>
                  <a:pt x="6162" y="6192"/>
                </a:lnTo>
                <a:lnTo>
                  <a:pt x="6156" y="6202"/>
                </a:lnTo>
                <a:lnTo>
                  <a:pt x="6149" y="6211"/>
                </a:lnTo>
                <a:lnTo>
                  <a:pt x="6141" y="6218"/>
                </a:lnTo>
                <a:lnTo>
                  <a:pt x="6132" y="6225"/>
                </a:lnTo>
                <a:lnTo>
                  <a:pt x="6121" y="6233"/>
                </a:lnTo>
                <a:lnTo>
                  <a:pt x="6109" y="6239"/>
                </a:lnTo>
                <a:lnTo>
                  <a:pt x="6095" y="6244"/>
                </a:lnTo>
                <a:lnTo>
                  <a:pt x="6080" y="6248"/>
                </a:lnTo>
                <a:lnTo>
                  <a:pt x="6064" y="6252"/>
                </a:lnTo>
                <a:lnTo>
                  <a:pt x="6046" y="6255"/>
                </a:lnTo>
                <a:lnTo>
                  <a:pt x="6027" y="6258"/>
                </a:lnTo>
                <a:lnTo>
                  <a:pt x="6006" y="6260"/>
                </a:lnTo>
                <a:lnTo>
                  <a:pt x="5983" y="6261"/>
                </a:lnTo>
                <a:lnTo>
                  <a:pt x="5960" y="6263"/>
                </a:lnTo>
                <a:lnTo>
                  <a:pt x="5934" y="6264"/>
                </a:lnTo>
                <a:lnTo>
                  <a:pt x="5906" y="6265"/>
                </a:lnTo>
                <a:lnTo>
                  <a:pt x="5877" y="6267"/>
                </a:lnTo>
                <a:lnTo>
                  <a:pt x="5846" y="6267"/>
                </a:lnTo>
                <a:lnTo>
                  <a:pt x="5813" y="6267"/>
                </a:lnTo>
                <a:lnTo>
                  <a:pt x="5781" y="6267"/>
                </a:lnTo>
                <a:lnTo>
                  <a:pt x="5751" y="6267"/>
                </a:lnTo>
                <a:lnTo>
                  <a:pt x="5721" y="6265"/>
                </a:lnTo>
                <a:lnTo>
                  <a:pt x="5693" y="6264"/>
                </a:lnTo>
                <a:lnTo>
                  <a:pt x="5667" y="6263"/>
                </a:lnTo>
                <a:lnTo>
                  <a:pt x="5643" y="6262"/>
                </a:lnTo>
                <a:lnTo>
                  <a:pt x="5621" y="6261"/>
                </a:lnTo>
                <a:lnTo>
                  <a:pt x="5600" y="6259"/>
                </a:lnTo>
                <a:lnTo>
                  <a:pt x="5563" y="6255"/>
                </a:lnTo>
                <a:lnTo>
                  <a:pt x="5530" y="6251"/>
                </a:lnTo>
                <a:lnTo>
                  <a:pt x="5502" y="6245"/>
                </a:lnTo>
                <a:lnTo>
                  <a:pt x="5480" y="6239"/>
                </a:lnTo>
                <a:lnTo>
                  <a:pt x="5469" y="6235"/>
                </a:lnTo>
                <a:lnTo>
                  <a:pt x="5460" y="6230"/>
                </a:lnTo>
                <a:lnTo>
                  <a:pt x="5452" y="6225"/>
                </a:lnTo>
                <a:lnTo>
                  <a:pt x="5444" y="6220"/>
                </a:lnTo>
                <a:lnTo>
                  <a:pt x="5436" y="6215"/>
                </a:lnTo>
                <a:lnTo>
                  <a:pt x="5430" y="6210"/>
                </a:lnTo>
                <a:lnTo>
                  <a:pt x="5424" y="6204"/>
                </a:lnTo>
                <a:lnTo>
                  <a:pt x="5419" y="6198"/>
                </a:lnTo>
                <a:lnTo>
                  <a:pt x="5410" y="6183"/>
                </a:lnTo>
                <a:lnTo>
                  <a:pt x="5400" y="6168"/>
                </a:lnTo>
                <a:lnTo>
                  <a:pt x="5391" y="6151"/>
                </a:lnTo>
                <a:lnTo>
                  <a:pt x="5382" y="6133"/>
                </a:lnTo>
                <a:lnTo>
                  <a:pt x="4904" y="4775"/>
                </a:lnTo>
                <a:lnTo>
                  <a:pt x="2585" y="4775"/>
                </a:lnTo>
                <a:lnTo>
                  <a:pt x="2126" y="6115"/>
                </a:lnTo>
                <a:lnTo>
                  <a:pt x="2120" y="6135"/>
                </a:lnTo>
                <a:lnTo>
                  <a:pt x="2112" y="6151"/>
                </a:lnTo>
                <a:lnTo>
                  <a:pt x="2103" y="6168"/>
                </a:lnTo>
                <a:lnTo>
                  <a:pt x="2093" y="6181"/>
                </a:lnTo>
                <a:lnTo>
                  <a:pt x="2087" y="6188"/>
                </a:lnTo>
                <a:lnTo>
                  <a:pt x="2081" y="6195"/>
                </a:lnTo>
                <a:lnTo>
                  <a:pt x="2074" y="6202"/>
                </a:lnTo>
                <a:lnTo>
                  <a:pt x="2067" y="6208"/>
                </a:lnTo>
                <a:lnTo>
                  <a:pt x="2058" y="6214"/>
                </a:lnTo>
                <a:lnTo>
                  <a:pt x="2049" y="6219"/>
                </a:lnTo>
                <a:lnTo>
                  <a:pt x="2040" y="6225"/>
                </a:lnTo>
                <a:lnTo>
                  <a:pt x="2029" y="6230"/>
                </a:lnTo>
                <a:lnTo>
                  <a:pt x="2019" y="6235"/>
                </a:lnTo>
                <a:lnTo>
                  <a:pt x="2008" y="6239"/>
                </a:lnTo>
                <a:lnTo>
                  <a:pt x="1994" y="6243"/>
                </a:lnTo>
                <a:lnTo>
                  <a:pt x="1980" y="6246"/>
                </a:lnTo>
                <a:lnTo>
                  <a:pt x="1966" y="6250"/>
                </a:lnTo>
                <a:lnTo>
                  <a:pt x="1949" y="6253"/>
                </a:lnTo>
                <a:lnTo>
                  <a:pt x="1932" y="6255"/>
                </a:lnTo>
                <a:lnTo>
                  <a:pt x="1913" y="6258"/>
                </a:lnTo>
                <a:lnTo>
                  <a:pt x="1893" y="6260"/>
                </a:lnTo>
                <a:lnTo>
                  <a:pt x="1873" y="6261"/>
                </a:lnTo>
                <a:lnTo>
                  <a:pt x="1851" y="6263"/>
                </a:lnTo>
                <a:lnTo>
                  <a:pt x="1828" y="6264"/>
                </a:lnTo>
                <a:lnTo>
                  <a:pt x="1802" y="6265"/>
                </a:lnTo>
                <a:lnTo>
                  <a:pt x="1775" y="6267"/>
                </a:lnTo>
                <a:lnTo>
                  <a:pt x="1747" y="6267"/>
                </a:lnTo>
                <a:lnTo>
                  <a:pt x="1717" y="6267"/>
                </a:lnTo>
                <a:lnTo>
                  <a:pt x="1687" y="6267"/>
                </a:lnTo>
                <a:lnTo>
                  <a:pt x="1658" y="6265"/>
                </a:lnTo>
                <a:lnTo>
                  <a:pt x="1630" y="6265"/>
                </a:lnTo>
                <a:lnTo>
                  <a:pt x="1604" y="6263"/>
                </a:lnTo>
                <a:lnTo>
                  <a:pt x="1579" y="6262"/>
                </a:lnTo>
                <a:lnTo>
                  <a:pt x="1556" y="6260"/>
                </a:lnTo>
                <a:lnTo>
                  <a:pt x="1534" y="6257"/>
                </a:lnTo>
                <a:lnTo>
                  <a:pt x="1513" y="6255"/>
                </a:lnTo>
                <a:lnTo>
                  <a:pt x="1494" y="6252"/>
                </a:lnTo>
                <a:lnTo>
                  <a:pt x="1476" y="6248"/>
                </a:lnTo>
                <a:lnTo>
                  <a:pt x="1460" y="6244"/>
                </a:lnTo>
                <a:lnTo>
                  <a:pt x="1445" y="6240"/>
                </a:lnTo>
                <a:lnTo>
                  <a:pt x="1432" y="6234"/>
                </a:lnTo>
                <a:lnTo>
                  <a:pt x="1420" y="6227"/>
                </a:lnTo>
                <a:lnTo>
                  <a:pt x="1409" y="6221"/>
                </a:lnTo>
                <a:lnTo>
                  <a:pt x="1401" y="6214"/>
                </a:lnTo>
                <a:lnTo>
                  <a:pt x="1394" y="6206"/>
                </a:lnTo>
                <a:lnTo>
                  <a:pt x="1387" y="6198"/>
                </a:lnTo>
                <a:lnTo>
                  <a:pt x="1381" y="6188"/>
                </a:lnTo>
                <a:lnTo>
                  <a:pt x="1377" y="6177"/>
                </a:lnTo>
                <a:lnTo>
                  <a:pt x="1373" y="6166"/>
                </a:lnTo>
                <a:lnTo>
                  <a:pt x="1371" y="6153"/>
                </a:lnTo>
                <a:lnTo>
                  <a:pt x="1370" y="6140"/>
                </a:lnTo>
                <a:lnTo>
                  <a:pt x="1370" y="6125"/>
                </a:lnTo>
                <a:lnTo>
                  <a:pt x="1371" y="6111"/>
                </a:lnTo>
                <a:lnTo>
                  <a:pt x="1373" y="6095"/>
                </a:lnTo>
                <a:lnTo>
                  <a:pt x="1376" y="6077"/>
                </a:lnTo>
                <a:lnTo>
                  <a:pt x="1380" y="6058"/>
                </a:lnTo>
                <a:lnTo>
                  <a:pt x="1386" y="6039"/>
                </a:lnTo>
                <a:lnTo>
                  <a:pt x="1392" y="6017"/>
                </a:lnTo>
                <a:lnTo>
                  <a:pt x="1399" y="5996"/>
                </a:lnTo>
                <a:lnTo>
                  <a:pt x="1407" y="5973"/>
                </a:lnTo>
                <a:lnTo>
                  <a:pt x="3278" y="792"/>
                </a:lnTo>
                <a:lnTo>
                  <a:pt x="3282" y="780"/>
                </a:lnTo>
                <a:lnTo>
                  <a:pt x="3287" y="769"/>
                </a:lnTo>
                <a:lnTo>
                  <a:pt x="3292" y="758"/>
                </a:lnTo>
                <a:lnTo>
                  <a:pt x="3298" y="749"/>
                </a:lnTo>
                <a:lnTo>
                  <a:pt x="3304" y="740"/>
                </a:lnTo>
                <a:lnTo>
                  <a:pt x="3310" y="730"/>
                </a:lnTo>
                <a:lnTo>
                  <a:pt x="3316" y="722"/>
                </a:lnTo>
                <a:lnTo>
                  <a:pt x="3323" y="714"/>
                </a:lnTo>
                <a:lnTo>
                  <a:pt x="3331" y="707"/>
                </a:lnTo>
                <a:lnTo>
                  <a:pt x="3339" y="699"/>
                </a:lnTo>
                <a:lnTo>
                  <a:pt x="3348" y="693"/>
                </a:lnTo>
                <a:lnTo>
                  <a:pt x="3357" y="687"/>
                </a:lnTo>
                <a:lnTo>
                  <a:pt x="3369" y="682"/>
                </a:lnTo>
                <a:lnTo>
                  <a:pt x="3380" y="677"/>
                </a:lnTo>
                <a:lnTo>
                  <a:pt x="3392" y="672"/>
                </a:lnTo>
                <a:lnTo>
                  <a:pt x="3406" y="666"/>
                </a:lnTo>
                <a:lnTo>
                  <a:pt x="3419" y="662"/>
                </a:lnTo>
                <a:lnTo>
                  <a:pt x="3434" y="659"/>
                </a:lnTo>
                <a:lnTo>
                  <a:pt x="3450" y="655"/>
                </a:lnTo>
                <a:lnTo>
                  <a:pt x="3467" y="652"/>
                </a:lnTo>
                <a:lnTo>
                  <a:pt x="3503" y="647"/>
                </a:lnTo>
                <a:lnTo>
                  <a:pt x="3544" y="643"/>
                </a:lnTo>
                <a:lnTo>
                  <a:pt x="3565" y="642"/>
                </a:lnTo>
                <a:lnTo>
                  <a:pt x="3589" y="641"/>
                </a:lnTo>
                <a:lnTo>
                  <a:pt x="3613" y="639"/>
                </a:lnTo>
                <a:lnTo>
                  <a:pt x="3639" y="638"/>
                </a:lnTo>
                <a:lnTo>
                  <a:pt x="3666" y="637"/>
                </a:lnTo>
                <a:lnTo>
                  <a:pt x="3695" y="637"/>
                </a:lnTo>
                <a:lnTo>
                  <a:pt x="3725" y="636"/>
                </a:lnTo>
                <a:lnTo>
                  <a:pt x="3757" y="636"/>
                </a:lnTo>
                <a:lnTo>
                  <a:pt x="3791" y="636"/>
                </a:lnTo>
                <a:lnTo>
                  <a:pt x="3823" y="637"/>
                </a:lnTo>
                <a:lnTo>
                  <a:pt x="3854" y="637"/>
                </a:lnTo>
                <a:lnTo>
                  <a:pt x="3883" y="638"/>
                </a:lnTo>
                <a:lnTo>
                  <a:pt x="3911" y="639"/>
                </a:lnTo>
                <a:lnTo>
                  <a:pt x="3937" y="641"/>
                </a:lnTo>
                <a:lnTo>
                  <a:pt x="3962" y="642"/>
                </a:lnTo>
                <a:lnTo>
                  <a:pt x="3986" y="643"/>
                </a:lnTo>
                <a:lnTo>
                  <a:pt x="4028" y="647"/>
                </a:lnTo>
                <a:lnTo>
                  <a:pt x="4067" y="652"/>
                </a:lnTo>
                <a:lnTo>
                  <a:pt x="4085" y="655"/>
                </a:lnTo>
                <a:lnTo>
                  <a:pt x="4101" y="659"/>
                </a:lnTo>
                <a:lnTo>
                  <a:pt x="4117" y="662"/>
                </a:lnTo>
                <a:lnTo>
                  <a:pt x="4131" y="666"/>
                </a:lnTo>
                <a:lnTo>
                  <a:pt x="4145" y="672"/>
                </a:lnTo>
                <a:lnTo>
                  <a:pt x="4158" y="677"/>
                </a:lnTo>
                <a:lnTo>
                  <a:pt x="4170" y="682"/>
                </a:lnTo>
                <a:lnTo>
                  <a:pt x="4182" y="688"/>
                </a:lnTo>
                <a:lnTo>
                  <a:pt x="4192" y="694"/>
                </a:lnTo>
                <a:lnTo>
                  <a:pt x="4201" y="701"/>
                </a:lnTo>
                <a:lnTo>
                  <a:pt x="4210" y="709"/>
                </a:lnTo>
                <a:lnTo>
                  <a:pt x="4218" y="717"/>
                </a:lnTo>
                <a:lnTo>
                  <a:pt x="4226" y="725"/>
                </a:lnTo>
                <a:lnTo>
                  <a:pt x="4232" y="733"/>
                </a:lnTo>
                <a:lnTo>
                  <a:pt x="4239" y="743"/>
                </a:lnTo>
                <a:lnTo>
                  <a:pt x="4244" y="752"/>
                </a:lnTo>
                <a:lnTo>
                  <a:pt x="4251" y="762"/>
                </a:lnTo>
                <a:lnTo>
                  <a:pt x="4256" y="774"/>
                </a:lnTo>
                <a:lnTo>
                  <a:pt x="4261" y="785"/>
                </a:lnTo>
                <a:lnTo>
                  <a:pt x="4265" y="796"/>
                </a:lnTo>
                <a:lnTo>
                  <a:pt x="6137" y="5977"/>
                </a:lnTo>
                <a:close/>
                <a:moveTo>
                  <a:pt x="3735" y="1404"/>
                </a:moveTo>
                <a:lnTo>
                  <a:pt x="3731" y="1404"/>
                </a:lnTo>
                <a:lnTo>
                  <a:pt x="2770" y="4185"/>
                </a:lnTo>
                <a:lnTo>
                  <a:pt x="4710" y="4185"/>
                </a:lnTo>
                <a:lnTo>
                  <a:pt x="3735" y="1404"/>
                </a:lnTo>
                <a:close/>
              </a:path>
            </a:pathLst>
          </a:custGeom>
          <a:solidFill>
            <a:srgbClr val="DB131E"/>
          </a:solidFill>
          <a:ln>
            <a:noFill/>
          </a:ln>
          <a:effectLst>
            <a:outerShdw blurRad="50800" dist="38100" dir="5400000" algn="t" rotWithShape="0">
              <a:srgbClr val="000000">
                <a:alpha val="25000"/>
              </a:srgbClr>
            </a:outerShdw>
          </a:effectLst>
          <a:extLst/>
        </p:spPr>
        <p:txBody>
          <a:bodyPr anchor="ctr"/>
          <a:lstStyle/>
          <a:p>
            <a:endParaRPr lang="en-US"/>
          </a:p>
        </p:txBody>
      </p:sp>
      <p:sp>
        <p:nvSpPr>
          <p:cNvPr id="5" name="Rectangle 4"/>
          <p:cNvSpPr/>
          <p:nvPr>
            <p:custDataLst>
              <p:tags r:id="rId4"/>
            </p:custDataLst>
          </p:nvPr>
        </p:nvSpPr>
        <p:spPr>
          <a:xfrm>
            <a:off x="3332784" y="1727200"/>
            <a:ext cx="8496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  <a:ea typeface="MS PGothic" pitchFamily="34" charset="-128"/>
                <a:cs typeface="+mn-cs"/>
              </a:rPr>
              <a:t>Extract</a:t>
            </a:r>
            <a:endParaRPr lang="en-US" b="1" dirty="0">
              <a:solidFill>
                <a:schemeClr val="tx2">
                  <a:lumMod val="75000"/>
                </a:schemeClr>
              </a:solidFill>
              <a:latin typeface="Calibri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6" name="Text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19375" y="1815792"/>
            <a:ext cx="24130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endParaRPr lang="en-US" sz="1200" dirty="0">
              <a:solidFill>
                <a:schemeClr val="bg1"/>
              </a:solidFill>
              <a:latin typeface="Calibri" charset="0"/>
            </a:endParaRPr>
          </a:p>
          <a:p>
            <a:pPr eaLnBrk="1" hangingPunct="1"/>
            <a:r>
              <a:rPr lang="fr-FR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Sources de données</a:t>
            </a:r>
          </a:p>
          <a:p>
            <a:pPr eaLnBrk="1" hangingPunct="1"/>
            <a:r>
              <a:rPr lang="fr-FR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-SGBD hétérogènes</a:t>
            </a:r>
          </a:p>
          <a:p>
            <a:pPr eaLnBrk="1" hangingPunct="1"/>
            <a:r>
              <a:rPr lang="fr-FR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-Fichiers plats</a:t>
            </a:r>
          </a:p>
          <a:p>
            <a:pPr eaLnBrk="1" hangingPunct="1"/>
            <a:r>
              <a:rPr lang="fr-FR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-Fichiers docs</a:t>
            </a:r>
            <a:endParaRPr lang="en-US" sz="1200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7" name="Rectangle 9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71750" y="2984500"/>
            <a:ext cx="1577975" cy="1454150"/>
          </a:xfrm>
          <a:custGeom>
            <a:avLst/>
            <a:gdLst/>
            <a:ahLst/>
            <a:cxnLst/>
            <a:rect l="l" t="t" r="r" b="b"/>
            <a:pathLst>
              <a:path w="1577615" h="1453137">
                <a:moveTo>
                  <a:pt x="270439" y="1326721"/>
                </a:moveTo>
                <a:lnTo>
                  <a:pt x="276029" y="1331414"/>
                </a:lnTo>
                <a:lnTo>
                  <a:pt x="281619" y="1326721"/>
                </a:lnTo>
                <a:close/>
                <a:moveTo>
                  <a:pt x="0" y="0"/>
                </a:moveTo>
                <a:lnTo>
                  <a:pt x="1577615" y="0"/>
                </a:lnTo>
                <a:lnTo>
                  <a:pt x="1577615" y="1326721"/>
                </a:lnTo>
                <a:lnTo>
                  <a:pt x="426605" y="1326721"/>
                </a:lnTo>
                <a:lnTo>
                  <a:pt x="276029" y="1453137"/>
                </a:lnTo>
                <a:lnTo>
                  <a:pt x="125453" y="1326721"/>
                </a:lnTo>
                <a:lnTo>
                  <a:pt x="0" y="13267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984807"/>
              </a:solidFill>
            </a:endParaRPr>
          </a:p>
        </p:txBody>
      </p:sp>
      <p:sp>
        <p:nvSpPr>
          <p:cNvPr id="8" name="Rectangle 9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49725" y="2984500"/>
            <a:ext cx="2320925" cy="1325563"/>
          </a:xfrm>
          <a:prstGeom prst="rect">
            <a:avLst/>
          </a:prstGeom>
          <a:solidFill>
            <a:schemeClr val="bg1">
              <a:lumMod val="85000"/>
              <a:alpha val="7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9" name="TextBox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62425" y="3144645"/>
            <a:ext cx="241458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endParaRPr lang="en-US" sz="1200" dirty="0">
              <a:solidFill>
                <a:schemeClr val="bg1"/>
              </a:solidFill>
              <a:latin typeface="Calibri" charset="0"/>
            </a:endParaRPr>
          </a:p>
          <a:p>
            <a:pPr marL="171450" indent="-171450" eaLnBrk="1" hangingPunct="1">
              <a:buFontTx/>
              <a:buChar char="-"/>
            </a:pPr>
            <a:r>
              <a:rPr lang="fr-FR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Evolution linéaire des métadonnées</a:t>
            </a:r>
          </a:p>
          <a:p>
            <a:pPr marL="171450" indent="-171450" eaLnBrk="1" hangingPunct="1">
              <a:buFontTx/>
              <a:buChar char="-"/>
            </a:pPr>
            <a:r>
              <a:rPr lang="fr-FR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Compatibilité Business-Objects</a:t>
            </a:r>
          </a:p>
          <a:p>
            <a:pPr marL="171450" indent="-171450" eaLnBrk="1" hangingPunct="1">
              <a:buFontTx/>
              <a:buChar char="-"/>
            </a:pPr>
            <a:r>
              <a:rPr lang="fr-FR" sz="1200" noProof="1" smtClean="0">
                <a:solidFill>
                  <a:schemeClr val="bg1"/>
                </a:solidFill>
                <a:latin typeface="Calibri" charset="0"/>
                <a:cs typeface="Arial" charset="0"/>
              </a:rPr>
              <a:t>Adminsitration du Process via Client Web</a:t>
            </a:r>
            <a:endParaRPr lang="en-US" sz="1200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0" name="Freeform 48"/>
          <p:cNvSpPr>
            <a:spLocks noEditPoints="1"/>
          </p:cNvSpPr>
          <p:nvPr>
            <p:custDataLst>
              <p:tags r:id="rId9"/>
            </p:custDataLst>
          </p:nvPr>
        </p:nvSpPr>
        <p:spPr bwMode="auto">
          <a:xfrm>
            <a:off x="2892425" y="3109913"/>
            <a:ext cx="936625" cy="936625"/>
          </a:xfrm>
          <a:custGeom>
            <a:avLst/>
            <a:gdLst>
              <a:gd name="T0" fmla="*/ 2147483647 w 7530"/>
              <a:gd name="T1" fmla="*/ 2147483647 h 7527"/>
              <a:gd name="T2" fmla="*/ 2147483647 w 7530"/>
              <a:gd name="T3" fmla="*/ 2147483647 h 7527"/>
              <a:gd name="T4" fmla="*/ 0 w 7530"/>
              <a:gd name="T5" fmla="*/ 2147483647 h 7527"/>
              <a:gd name="T6" fmla="*/ 2147483647 w 7530"/>
              <a:gd name="T7" fmla="*/ 2147483647 h 7527"/>
              <a:gd name="T8" fmla="*/ 2147483647 w 7530"/>
              <a:gd name="T9" fmla="*/ 2147483647 h 7527"/>
              <a:gd name="T10" fmla="*/ 2147483647 w 7530"/>
              <a:gd name="T11" fmla="*/ 2147483647 h 7527"/>
              <a:gd name="T12" fmla="*/ 2147483647 w 7530"/>
              <a:gd name="T13" fmla="*/ 2147483647 h 7527"/>
              <a:gd name="T14" fmla="*/ 2147483647 w 7530"/>
              <a:gd name="T15" fmla="*/ 2147483647 h 7527"/>
              <a:gd name="T16" fmla="*/ 2147483647 w 7530"/>
              <a:gd name="T17" fmla="*/ 2147483647 h 7527"/>
              <a:gd name="T18" fmla="*/ 2147483647 w 7530"/>
              <a:gd name="T19" fmla="*/ 2147483647 h 7527"/>
              <a:gd name="T20" fmla="*/ 2147483647 w 7530"/>
              <a:gd name="T21" fmla="*/ 2147483647 h 7527"/>
              <a:gd name="T22" fmla="*/ 2147483647 w 7530"/>
              <a:gd name="T23" fmla="*/ 2147483647 h 7527"/>
              <a:gd name="T24" fmla="*/ 2147483647 w 7530"/>
              <a:gd name="T25" fmla="*/ 2147483647 h 7527"/>
              <a:gd name="T26" fmla="*/ 2147483647 w 7530"/>
              <a:gd name="T27" fmla="*/ 2147483647 h 7527"/>
              <a:gd name="T28" fmla="*/ 2147483647 w 7530"/>
              <a:gd name="T29" fmla="*/ 2147483647 h 7527"/>
              <a:gd name="T30" fmla="*/ 2147483647 w 7530"/>
              <a:gd name="T31" fmla="*/ 2147483647 h 7527"/>
              <a:gd name="T32" fmla="*/ 2147483647 w 7530"/>
              <a:gd name="T33" fmla="*/ 2147483647 h 7527"/>
              <a:gd name="T34" fmla="*/ 2147483647 w 7530"/>
              <a:gd name="T35" fmla="*/ 2147483647 h 7527"/>
              <a:gd name="T36" fmla="*/ 2147483647 w 7530"/>
              <a:gd name="T37" fmla="*/ 2147483647 h 7527"/>
              <a:gd name="T38" fmla="*/ 2147483647 w 7530"/>
              <a:gd name="T39" fmla="*/ 2147483647 h 7527"/>
              <a:gd name="T40" fmla="*/ 2147483647 w 7530"/>
              <a:gd name="T41" fmla="*/ 2147483647 h 7527"/>
              <a:gd name="T42" fmla="*/ 2147483647 w 7530"/>
              <a:gd name="T43" fmla="*/ 2147483647 h 7527"/>
              <a:gd name="T44" fmla="*/ 2147483647 w 7530"/>
              <a:gd name="T45" fmla="*/ 2147483647 h 7527"/>
              <a:gd name="T46" fmla="*/ 2147483647 w 7530"/>
              <a:gd name="T47" fmla="*/ 2147483647 h 7527"/>
              <a:gd name="T48" fmla="*/ 2147483647 w 7530"/>
              <a:gd name="T49" fmla="*/ 2147483647 h 7527"/>
              <a:gd name="T50" fmla="*/ 2147483647 w 7530"/>
              <a:gd name="T51" fmla="*/ 2147483647 h 7527"/>
              <a:gd name="T52" fmla="*/ 2147483647 w 7530"/>
              <a:gd name="T53" fmla="*/ 2147483647 h 7527"/>
              <a:gd name="T54" fmla="*/ 2147483647 w 7530"/>
              <a:gd name="T55" fmla="*/ 2147483647 h 7527"/>
              <a:gd name="T56" fmla="*/ 2147483647 w 7530"/>
              <a:gd name="T57" fmla="*/ 2147483647 h 7527"/>
              <a:gd name="T58" fmla="*/ 2147483647 w 7530"/>
              <a:gd name="T59" fmla="*/ 2147483647 h 7527"/>
              <a:gd name="T60" fmla="*/ 2147483647 w 7530"/>
              <a:gd name="T61" fmla="*/ 2147483647 h 7527"/>
              <a:gd name="T62" fmla="*/ 2147483647 w 7530"/>
              <a:gd name="T63" fmla="*/ 2147483647 h 7527"/>
              <a:gd name="T64" fmla="*/ 2147483647 w 7530"/>
              <a:gd name="T65" fmla="*/ 2147483647 h 7527"/>
              <a:gd name="T66" fmla="*/ 2147483647 w 7530"/>
              <a:gd name="T67" fmla="*/ 2147483647 h 7527"/>
              <a:gd name="T68" fmla="*/ 2147483647 w 7530"/>
              <a:gd name="T69" fmla="*/ 2147483647 h 7527"/>
              <a:gd name="T70" fmla="*/ 2147483647 w 7530"/>
              <a:gd name="T71" fmla="*/ 2147483647 h 7527"/>
              <a:gd name="T72" fmla="*/ 2147483647 w 7530"/>
              <a:gd name="T73" fmla="*/ 2147483647 h 7527"/>
              <a:gd name="T74" fmla="*/ 2147483647 w 7530"/>
              <a:gd name="T75" fmla="*/ 2147483647 h 7527"/>
              <a:gd name="T76" fmla="*/ 2147483647 w 7530"/>
              <a:gd name="T77" fmla="*/ 2147483647 h 7527"/>
              <a:gd name="T78" fmla="*/ 2147483647 w 7530"/>
              <a:gd name="T79" fmla="*/ 2147483647 h 7527"/>
              <a:gd name="T80" fmla="*/ 2147483647 w 7530"/>
              <a:gd name="T81" fmla="*/ 2147483647 h 7527"/>
              <a:gd name="T82" fmla="*/ 2147483647 w 7530"/>
              <a:gd name="T83" fmla="*/ 2147483647 h 7527"/>
              <a:gd name="T84" fmla="*/ 2147483647 w 7530"/>
              <a:gd name="T85" fmla="*/ 2147483647 h 7527"/>
              <a:gd name="T86" fmla="*/ 2147483647 w 7530"/>
              <a:gd name="T87" fmla="*/ 2147483647 h 7527"/>
              <a:gd name="T88" fmla="*/ 2147483647 w 7530"/>
              <a:gd name="T89" fmla="*/ 2147483647 h 7527"/>
              <a:gd name="T90" fmla="*/ 2147483647 w 7530"/>
              <a:gd name="T91" fmla="*/ 2147483647 h 7527"/>
              <a:gd name="T92" fmla="*/ 2147483647 w 7530"/>
              <a:gd name="T93" fmla="*/ 2147483647 h 7527"/>
              <a:gd name="T94" fmla="*/ 2147483647 w 7530"/>
              <a:gd name="T95" fmla="*/ 2147483647 h 7527"/>
              <a:gd name="T96" fmla="*/ 2147483647 w 7530"/>
              <a:gd name="T97" fmla="*/ 2147483647 h 7527"/>
              <a:gd name="T98" fmla="*/ 2147483647 w 7530"/>
              <a:gd name="T99" fmla="*/ 2147483647 h 7527"/>
              <a:gd name="T100" fmla="*/ 2147483647 w 7530"/>
              <a:gd name="T101" fmla="*/ 2147483647 h 7527"/>
              <a:gd name="T102" fmla="*/ 2147483647 w 7530"/>
              <a:gd name="T103" fmla="*/ 2147483647 h 7527"/>
              <a:gd name="T104" fmla="*/ 2147483647 w 7530"/>
              <a:gd name="T105" fmla="*/ 2147483647 h 7527"/>
              <a:gd name="T106" fmla="*/ 2147483647 w 7530"/>
              <a:gd name="T107" fmla="*/ 2147483647 h 7527"/>
              <a:gd name="T108" fmla="*/ 2147483647 w 7530"/>
              <a:gd name="T109" fmla="*/ 2147483647 h 7527"/>
              <a:gd name="T110" fmla="*/ 2147483647 w 7530"/>
              <a:gd name="T111" fmla="*/ 2147483647 h 7527"/>
              <a:gd name="T112" fmla="*/ 2147483647 w 7530"/>
              <a:gd name="T113" fmla="*/ 2147483647 h 7527"/>
              <a:gd name="T114" fmla="*/ 2147483647 w 7530"/>
              <a:gd name="T115" fmla="*/ 2147483647 h 7527"/>
              <a:gd name="T116" fmla="*/ 2147483647 w 7530"/>
              <a:gd name="T117" fmla="*/ 2147483647 h 752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530" h="7527">
                <a:moveTo>
                  <a:pt x="3766" y="7527"/>
                </a:moveTo>
                <a:lnTo>
                  <a:pt x="3572" y="7522"/>
                </a:lnTo>
                <a:lnTo>
                  <a:pt x="3380" y="7507"/>
                </a:lnTo>
                <a:lnTo>
                  <a:pt x="3192" y="7484"/>
                </a:lnTo>
                <a:lnTo>
                  <a:pt x="3006" y="7451"/>
                </a:lnTo>
                <a:lnTo>
                  <a:pt x="2824" y="7408"/>
                </a:lnTo>
                <a:lnTo>
                  <a:pt x="2646" y="7358"/>
                </a:lnTo>
                <a:lnTo>
                  <a:pt x="2471" y="7298"/>
                </a:lnTo>
                <a:lnTo>
                  <a:pt x="2300" y="7231"/>
                </a:lnTo>
                <a:lnTo>
                  <a:pt x="2133" y="7156"/>
                </a:lnTo>
                <a:lnTo>
                  <a:pt x="1971" y="7073"/>
                </a:lnTo>
                <a:lnTo>
                  <a:pt x="1813" y="6982"/>
                </a:lnTo>
                <a:lnTo>
                  <a:pt x="1661" y="6884"/>
                </a:lnTo>
                <a:lnTo>
                  <a:pt x="1513" y="6779"/>
                </a:lnTo>
                <a:lnTo>
                  <a:pt x="1370" y="6668"/>
                </a:lnTo>
                <a:lnTo>
                  <a:pt x="1234" y="6549"/>
                </a:lnTo>
                <a:lnTo>
                  <a:pt x="1104" y="6425"/>
                </a:lnTo>
                <a:lnTo>
                  <a:pt x="979" y="6294"/>
                </a:lnTo>
                <a:lnTo>
                  <a:pt x="861" y="6157"/>
                </a:lnTo>
                <a:lnTo>
                  <a:pt x="748" y="6015"/>
                </a:lnTo>
                <a:lnTo>
                  <a:pt x="644" y="5867"/>
                </a:lnTo>
                <a:lnTo>
                  <a:pt x="545" y="5715"/>
                </a:lnTo>
                <a:lnTo>
                  <a:pt x="455" y="5557"/>
                </a:lnTo>
                <a:lnTo>
                  <a:pt x="372" y="5395"/>
                </a:lnTo>
                <a:lnTo>
                  <a:pt x="297" y="5228"/>
                </a:lnTo>
                <a:lnTo>
                  <a:pt x="229" y="5057"/>
                </a:lnTo>
                <a:lnTo>
                  <a:pt x="170" y="4883"/>
                </a:lnTo>
                <a:lnTo>
                  <a:pt x="119" y="4704"/>
                </a:lnTo>
                <a:lnTo>
                  <a:pt x="78" y="4521"/>
                </a:lnTo>
                <a:lnTo>
                  <a:pt x="45" y="4336"/>
                </a:lnTo>
                <a:lnTo>
                  <a:pt x="20" y="4148"/>
                </a:lnTo>
                <a:lnTo>
                  <a:pt x="5" y="3957"/>
                </a:lnTo>
                <a:lnTo>
                  <a:pt x="0" y="3763"/>
                </a:lnTo>
                <a:lnTo>
                  <a:pt x="5" y="3570"/>
                </a:lnTo>
                <a:lnTo>
                  <a:pt x="20" y="3378"/>
                </a:lnTo>
                <a:lnTo>
                  <a:pt x="45" y="3189"/>
                </a:lnTo>
                <a:lnTo>
                  <a:pt x="78" y="3005"/>
                </a:lnTo>
                <a:lnTo>
                  <a:pt x="119" y="2823"/>
                </a:lnTo>
                <a:lnTo>
                  <a:pt x="170" y="2644"/>
                </a:lnTo>
                <a:lnTo>
                  <a:pt x="229" y="2469"/>
                </a:lnTo>
                <a:lnTo>
                  <a:pt x="297" y="2298"/>
                </a:lnTo>
                <a:lnTo>
                  <a:pt x="372" y="2132"/>
                </a:lnTo>
                <a:lnTo>
                  <a:pt x="455" y="1969"/>
                </a:lnTo>
                <a:lnTo>
                  <a:pt x="545" y="1811"/>
                </a:lnTo>
                <a:lnTo>
                  <a:pt x="644" y="1659"/>
                </a:lnTo>
                <a:lnTo>
                  <a:pt x="748" y="1512"/>
                </a:lnTo>
                <a:lnTo>
                  <a:pt x="861" y="1369"/>
                </a:lnTo>
                <a:lnTo>
                  <a:pt x="979" y="1232"/>
                </a:lnTo>
                <a:lnTo>
                  <a:pt x="1104" y="1102"/>
                </a:lnTo>
                <a:lnTo>
                  <a:pt x="1234" y="977"/>
                </a:lnTo>
                <a:lnTo>
                  <a:pt x="1370" y="859"/>
                </a:lnTo>
                <a:lnTo>
                  <a:pt x="1513" y="747"/>
                </a:lnTo>
                <a:lnTo>
                  <a:pt x="1661" y="642"/>
                </a:lnTo>
                <a:lnTo>
                  <a:pt x="1813" y="544"/>
                </a:lnTo>
                <a:lnTo>
                  <a:pt x="1971" y="454"/>
                </a:lnTo>
                <a:lnTo>
                  <a:pt x="2133" y="370"/>
                </a:lnTo>
                <a:lnTo>
                  <a:pt x="2300" y="295"/>
                </a:lnTo>
                <a:lnTo>
                  <a:pt x="2471" y="227"/>
                </a:lnTo>
                <a:lnTo>
                  <a:pt x="2646" y="168"/>
                </a:lnTo>
                <a:lnTo>
                  <a:pt x="2824" y="118"/>
                </a:lnTo>
                <a:lnTo>
                  <a:pt x="3006" y="76"/>
                </a:lnTo>
                <a:lnTo>
                  <a:pt x="3192" y="43"/>
                </a:lnTo>
                <a:lnTo>
                  <a:pt x="3380" y="19"/>
                </a:lnTo>
                <a:lnTo>
                  <a:pt x="3572" y="5"/>
                </a:lnTo>
                <a:lnTo>
                  <a:pt x="3766" y="0"/>
                </a:lnTo>
                <a:lnTo>
                  <a:pt x="3959" y="5"/>
                </a:lnTo>
                <a:lnTo>
                  <a:pt x="4150" y="19"/>
                </a:lnTo>
                <a:lnTo>
                  <a:pt x="4338" y="43"/>
                </a:lnTo>
                <a:lnTo>
                  <a:pt x="4524" y="76"/>
                </a:lnTo>
                <a:lnTo>
                  <a:pt x="4706" y="118"/>
                </a:lnTo>
                <a:lnTo>
                  <a:pt x="4884" y="168"/>
                </a:lnTo>
                <a:lnTo>
                  <a:pt x="5060" y="227"/>
                </a:lnTo>
                <a:lnTo>
                  <a:pt x="5231" y="295"/>
                </a:lnTo>
                <a:lnTo>
                  <a:pt x="5398" y="370"/>
                </a:lnTo>
                <a:lnTo>
                  <a:pt x="5560" y="454"/>
                </a:lnTo>
                <a:lnTo>
                  <a:pt x="5718" y="544"/>
                </a:lnTo>
                <a:lnTo>
                  <a:pt x="5870" y="642"/>
                </a:lnTo>
                <a:lnTo>
                  <a:pt x="6018" y="747"/>
                </a:lnTo>
                <a:lnTo>
                  <a:pt x="6160" y="859"/>
                </a:lnTo>
                <a:lnTo>
                  <a:pt x="6297" y="977"/>
                </a:lnTo>
                <a:lnTo>
                  <a:pt x="6428" y="1102"/>
                </a:lnTo>
                <a:lnTo>
                  <a:pt x="6552" y="1232"/>
                </a:lnTo>
                <a:lnTo>
                  <a:pt x="6671" y="1369"/>
                </a:lnTo>
                <a:lnTo>
                  <a:pt x="6782" y="1512"/>
                </a:lnTo>
                <a:lnTo>
                  <a:pt x="6887" y="1659"/>
                </a:lnTo>
                <a:lnTo>
                  <a:pt x="6985" y="1811"/>
                </a:lnTo>
                <a:lnTo>
                  <a:pt x="7076" y="1969"/>
                </a:lnTo>
                <a:lnTo>
                  <a:pt x="7159" y="2132"/>
                </a:lnTo>
                <a:lnTo>
                  <a:pt x="7234" y="2298"/>
                </a:lnTo>
                <a:lnTo>
                  <a:pt x="7301" y="2469"/>
                </a:lnTo>
                <a:lnTo>
                  <a:pt x="7361" y="2644"/>
                </a:lnTo>
                <a:lnTo>
                  <a:pt x="7412" y="2823"/>
                </a:lnTo>
                <a:lnTo>
                  <a:pt x="7454" y="3005"/>
                </a:lnTo>
                <a:lnTo>
                  <a:pt x="7487" y="3189"/>
                </a:lnTo>
                <a:lnTo>
                  <a:pt x="7510" y="3378"/>
                </a:lnTo>
                <a:lnTo>
                  <a:pt x="7525" y="3570"/>
                </a:lnTo>
                <a:lnTo>
                  <a:pt x="7530" y="3763"/>
                </a:lnTo>
                <a:lnTo>
                  <a:pt x="7525" y="3957"/>
                </a:lnTo>
                <a:lnTo>
                  <a:pt x="7510" y="4148"/>
                </a:lnTo>
                <a:lnTo>
                  <a:pt x="7487" y="4336"/>
                </a:lnTo>
                <a:lnTo>
                  <a:pt x="7454" y="4521"/>
                </a:lnTo>
                <a:lnTo>
                  <a:pt x="7412" y="4704"/>
                </a:lnTo>
                <a:lnTo>
                  <a:pt x="7361" y="4883"/>
                </a:lnTo>
                <a:lnTo>
                  <a:pt x="7301" y="5057"/>
                </a:lnTo>
                <a:lnTo>
                  <a:pt x="7234" y="5228"/>
                </a:lnTo>
                <a:lnTo>
                  <a:pt x="7159" y="5395"/>
                </a:lnTo>
                <a:lnTo>
                  <a:pt x="7076" y="5557"/>
                </a:lnTo>
                <a:lnTo>
                  <a:pt x="6985" y="5715"/>
                </a:lnTo>
                <a:lnTo>
                  <a:pt x="6887" y="5867"/>
                </a:lnTo>
                <a:lnTo>
                  <a:pt x="6782" y="6015"/>
                </a:lnTo>
                <a:lnTo>
                  <a:pt x="6671" y="6157"/>
                </a:lnTo>
                <a:lnTo>
                  <a:pt x="6552" y="6294"/>
                </a:lnTo>
                <a:lnTo>
                  <a:pt x="6428" y="6425"/>
                </a:lnTo>
                <a:lnTo>
                  <a:pt x="6297" y="6549"/>
                </a:lnTo>
                <a:lnTo>
                  <a:pt x="6160" y="6668"/>
                </a:lnTo>
                <a:lnTo>
                  <a:pt x="6018" y="6779"/>
                </a:lnTo>
                <a:lnTo>
                  <a:pt x="5870" y="6884"/>
                </a:lnTo>
                <a:lnTo>
                  <a:pt x="5718" y="6982"/>
                </a:lnTo>
                <a:lnTo>
                  <a:pt x="5560" y="7073"/>
                </a:lnTo>
                <a:lnTo>
                  <a:pt x="5398" y="7156"/>
                </a:lnTo>
                <a:lnTo>
                  <a:pt x="5231" y="7231"/>
                </a:lnTo>
                <a:lnTo>
                  <a:pt x="5060" y="7298"/>
                </a:lnTo>
                <a:lnTo>
                  <a:pt x="4884" y="7358"/>
                </a:lnTo>
                <a:lnTo>
                  <a:pt x="4706" y="7408"/>
                </a:lnTo>
                <a:lnTo>
                  <a:pt x="4524" y="7451"/>
                </a:lnTo>
                <a:lnTo>
                  <a:pt x="4338" y="7484"/>
                </a:lnTo>
                <a:lnTo>
                  <a:pt x="4150" y="7507"/>
                </a:lnTo>
                <a:lnTo>
                  <a:pt x="3959" y="7522"/>
                </a:lnTo>
                <a:lnTo>
                  <a:pt x="3766" y="7527"/>
                </a:lnTo>
                <a:close/>
                <a:moveTo>
                  <a:pt x="6004" y="4968"/>
                </a:moveTo>
                <a:lnTo>
                  <a:pt x="6003" y="5001"/>
                </a:lnTo>
                <a:lnTo>
                  <a:pt x="6003" y="5034"/>
                </a:lnTo>
                <a:lnTo>
                  <a:pt x="6001" y="5066"/>
                </a:lnTo>
                <a:lnTo>
                  <a:pt x="6000" y="5099"/>
                </a:lnTo>
                <a:lnTo>
                  <a:pt x="5997" y="5131"/>
                </a:lnTo>
                <a:lnTo>
                  <a:pt x="5995" y="5162"/>
                </a:lnTo>
                <a:lnTo>
                  <a:pt x="5991" y="5194"/>
                </a:lnTo>
                <a:lnTo>
                  <a:pt x="5987" y="5225"/>
                </a:lnTo>
                <a:lnTo>
                  <a:pt x="5983" y="5255"/>
                </a:lnTo>
                <a:lnTo>
                  <a:pt x="5978" y="5285"/>
                </a:lnTo>
                <a:lnTo>
                  <a:pt x="5972" y="5315"/>
                </a:lnTo>
                <a:lnTo>
                  <a:pt x="5966" y="5344"/>
                </a:lnTo>
                <a:lnTo>
                  <a:pt x="5960" y="5374"/>
                </a:lnTo>
                <a:lnTo>
                  <a:pt x="5953" y="5403"/>
                </a:lnTo>
                <a:lnTo>
                  <a:pt x="5945" y="5432"/>
                </a:lnTo>
                <a:lnTo>
                  <a:pt x="5937" y="5461"/>
                </a:lnTo>
                <a:lnTo>
                  <a:pt x="5919" y="5515"/>
                </a:lnTo>
                <a:lnTo>
                  <a:pt x="5899" y="5570"/>
                </a:lnTo>
                <a:lnTo>
                  <a:pt x="5878" y="5622"/>
                </a:lnTo>
                <a:lnTo>
                  <a:pt x="5855" y="5673"/>
                </a:lnTo>
                <a:lnTo>
                  <a:pt x="5843" y="5699"/>
                </a:lnTo>
                <a:lnTo>
                  <a:pt x="5830" y="5723"/>
                </a:lnTo>
                <a:lnTo>
                  <a:pt x="5818" y="5748"/>
                </a:lnTo>
                <a:lnTo>
                  <a:pt x="5804" y="5772"/>
                </a:lnTo>
                <a:lnTo>
                  <a:pt x="5790" y="5795"/>
                </a:lnTo>
                <a:lnTo>
                  <a:pt x="5776" y="5819"/>
                </a:lnTo>
                <a:lnTo>
                  <a:pt x="5761" y="5842"/>
                </a:lnTo>
                <a:lnTo>
                  <a:pt x="5746" y="5864"/>
                </a:lnTo>
                <a:lnTo>
                  <a:pt x="5715" y="5908"/>
                </a:lnTo>
                <a:lnTo>
                  <a:pt x="5682" y="5951"/>
                </a:lnTo>
                <a:lnTo>
                  <a:pt x="5647" y="5992"/>
                </a:lnTo>
                <a:lnTo>
                  <a:pt x="5611" y="6032"/>
                </a:lnTo>
                <a:lnTo>
                  <a:pt x="5573" y="6070"/>
                </a:lnTo>
                <a:lnTo>
                  <a:pt x="5533" y="6107"/>
                </a:lnTo>
                <a:lnTo>
                  <a:pt x="5493" y="6143"/>
                </a:lnTo>
                <a:lnTo>
                  <a:pt x="5451" y="6178"/>
                </a:lnTo>
                <a:lnTo>
                  <a:pt x="5407" y="6211"/>
                </a:lnTo>
                <a:lnTo>
                  <a:pt x="5361" y="6243"/>
                </a:lnTo>
                <a:lnTo>
                  <a:pt x="5315" y="6273"/>
                </a:lnTo>
                <a:lnTo>
                  <a:pt x="5268" y="6302"/>
                </a:lnTo>
                <a:lnTo>
                  <a:pt x="5218" y="6330"/>
                </a:lnTo>
                <a:lnTo>
                  <a:pt x="5168" y="6357"/>
                </a:lnTo>
                <a:lnTo>
                  <a:pt x="5116" y="6381"/>
                </a:lnTo>
                <a:lnTo>
                  <a:pt x="5063" y="6405"/>
                </a:lnTo>
                <a:lnTo>
                  <a:pt x="5008" y="6428"/>
                </a:lnTo>
                <a:lnTo>
                  <a:pt x="4952" y="6448"/>
                </a:lnTo>
                <a:lnTo>
                  <a:pt x="4896" y="6468"/>
                </a:lnTo>
                <a:lnTo>
                  <a:pt x="4839" y="6485"/>
                </a:lnTo>
                <a:lnTo>
                  <a:pt x="4780" y="6502"/>
                </a:lnTo>
                <a:lnTo>
                  <a:pt x="4721" y="6517"/>
                </a:lnTo>
                <a:lnTo>
                  <a:pt x="4661" y="6531"/>
                </a:lnTo>
                <a:lnTo>
                  <a:pt x="4599" y="6542"/>
                </a:lnTo>
                <a:lnTo>
                  <a:pt x="4537" y="6553"/>
                </a:lnTo>
                <a:lnTo>
                  <a:pt x="4471" y="6563"/>
                </a:lnTo>
                <a:lnTo>
                  <a:pt x="4404" y="6571"/>
                </a:lnTo>
                <a:lnTo>
                  <a:pt x="4335" y="6577"/>
                </a:lnTo>
                <a:lnTo>
                  <a:pt x="4263" y="6582"/>
                </a:lnTo>
                <a:lnTo>
                  <a:pt x="4189" y="6585"/>
                </a:lnTo>
                <a:lnTo>
                  <a:pt x="4113" y="6587"/>
                </a:lnTo>
                <a:lnTo>
                  <a:pt x="4035" y="6588"/>
                </a:lnTo>
                <a:lnTo>
                  <a:pt x="2557" y="6588"/>
                </a:lnTo>
                <a:lnTo>
                  <a:pt x="2545" y="6588"/>
                </a:lnTo>
                <a:lnTo>
                  <a:pt x="2533" y="6587"/>
                </a:lnTo>
                <a:lnTo>
                  <a:pt x="2520" y="6586"/>
                </a:lnTo>
                <a:lnTo>
                  <a:pt x="2508" y="6584"/>
                </a:lnTo>
                <a:lnTo>
                  <a:pt x="2495" y="6582"/>
                </a:lnTo>
                <a:lnTo>
                  <a:pt x="2483" y="6579"/>
                </a:lnTo>
                <a:lnTo>
                  <a:pt x="2472" y="6576"/>
                </a:lnTo>
                <a:lnTo>
                  <a:pt x="2459" y="6572"/>
                </a:lnTo>
                <a:lnTo>
                  <a:pt x="2436" y="6563"/>
                </a:lnTo>
                <a:lnTo>
                  <a:pt x="2413" y="6550"/>
                </a:lnTo>
                <a:lnTo>
                  <a:pt x="2390" y="6537"/>
                </a:lnTo>
                <a:lnTo>
                  <a:pt x="2368" y="6521"/>
                </a:lnTo>
                <a:lnTo>
                  <a:pt x="2356" y="6512"/>
                </a:lnTo>
                <a:lnTo>
                  <a:pt x="2347" y="6503"/>
                </a:lnTo>
                <a:lnTo>
                  <a:pt x="2337" y="6492"/>
                </a:lnTo>
                <a:lnTo>
                  <a:pt x="2329" y="6480"/>
                </a:lnTo>
                <a:lnTo>
                  <a:pt x="2320" y="6469"/>
                </a:lnTo>
                <a:lnTo>
                  <a:pt x="2313" y="6456"/>
                </a:lnTo>
                <a:lnTo>
                  <a:pt x="2307" y="6442"/>
                </a:lnTo>
                <a:lnTo>
                  <a:pt x="2301" y="6428"/>
                </a:lnTo>
                <a:lnTo>
                  <a:pt x="2296" y="6412"/>
                </a:lnTo>
                <a:lnTo>
                  <a:pt x="2290" y="6396"/>
                </a:lnTo>
                <a:lnTo>
                  <a:pt x="2287" y="6379"/>
                </a:lnTo>
                <a:lnTo>
                  <a:pt x="2284" y="6362"/>
                </a:lnTo>
                <a:lnTo>
                  <a:pt x="2281" y="6343"/>
                </a:lnTo>
                <a:lnTo>
                  <a:pt x="2280" y="6324"/>
                </a:lnTo>
                <a:lnTo>
                  <a:pt x="2279" y="6304"/>
                </a:lnTo>
                <a:lnTo>
                  <a:pt x="2278" y="6283"/>
                </a:lnTo>
                <a:lnTo>
                  <a:pt x="2278" y="1244"/>
                </a:lnTo>
                <a:lnTo>
                  <a:pt x="2279" y="1222"/>
                </a:lnTo>
                <a:lnTo>
                  <a:pt x="2280" y="1203"/>
                </a:lnTo>
                <a:lnTo>
                  <a:pt x="2281" y="1183"/>
                </a:lnTo>
                <a:lnTo>
                  <a:pt x="2284" y="1164"/>
                </a:lnTo>
                <a:lnTo>
                  <a:pt x="2287" y="1147"/>
                </a:lnTo>
                <a:lnTo>
                  <a:pt x="2290" y="1130"/>
                </a:lnTo>
                <a:lnTo>
                  <a:pt x="2296" y="1114"/>
                </a:lnTo>
                <a:lnTo>
                  <a:pt x="2301" y="1099"/>
                </a:lnTo>
                <a:lnTo>
                  <a:pt x="2307" y="1084"/>
                </a:lnTo>
                <a:lnTo>
                  <a:pt x="2313" y="1071"/>
                </a:lnTo>
                <a:lnTo>
                  <a:pt x="2320" y="1057"/>
                </a:lnTo>
                <a:lnTo>
                  <a:pt x="2329" y="1046"/>
                </a:lnTo>
                <a:lnTo>
                  <a:pt x="2337" y="1035"/>
                </a:lnTo>
                <a:lnTo>
                  <a:pt x="2347" y="1023"/>
                </a:lnTo>
                <a:lnTo>
                  <a:pt x="2356" y="1014"/>
                </a:lnTo>
                <a:lnTo>
                  <a:pt x="2368" y="1005"/>
                </a:lnTo>
                <a:lnTo>
                  <a:pt x="2390" y="989"/>
                </a:lnTo>
                <a:lnTo>
                  <a:pt x="2413" y="975"/>
                </a:lnTo>
                <a:lnTo>
                  <a:pt x="2436" y="964"/>
                </a:lnTo>
                <a:lnTo>
                  <a:pt x="2459" y="954"/>
                </a:lnTo>
                <a:lnTo>
                  <a:pt x="2472" y="950"/>
                </a:lnTo>
                <a:lnTo>
                  <a:pt x="2483" y="947"/>
                </a:lnTo>
                <a:lnTo>
                  <a:pt x="2495" y="944"/>
                </a:lnTo>
                <a:lnTo>
                  <a:pt x="2508" y="942"/>
                </a:lnTo>
                <a:lnTo>
                  <a:pt x="2520" y="940"/>
                </a:lnTo>
                <a:lnTo>
                  <a:pt x="2533" y="939"/>
                </a:lnTo>
                <a:lnTo>
                  <a:pt x="2545" y="938"/>
                </a:lnTo>
                <a:lnTo>
                  <a:pt x="2557" y="938"/>
                </a:lnTo>
                <a:lnTo>
                  <a:pt x="3842" y="938"/>
                </a:lnTo>
                <a:lnTo>
                  <a:pt x="3905" y="938"/>
                </a:lnTo>
                <a:lnTo>
                  <a:pt x="3966" y="939"/>
                </a:lnTo>
                <a:lnTo>
                  <a:pt x="4025" y="941"/>
                </a:lnTo>
                <a:lnTo>
                  <a:pt x="4084" y="944"/>
                </a:lnTo>
                <a:lnTo>
                  <a:pt x="4141" y="947"/>
                </a:lnTo>
                <a:lnTo>
                  <a:pt x="4196" y="951"/>
                </a:lnTo>
                <a:lnTo>
                  <a:pt x="4250" y="955"/>
                </a:lnTo>
                <a:lnTo>
                  <a:pt x="4302" y="962"/>
                </a:lnTo>
                <a:lnTo>
                  <a:pt x="4354" y="968"/>
                </a:lnTo>
                <a:lnTo>
                  <a:pt x="4403" y="975"/>
                </a:lnTo>
                <a:lnTo>
                  <a:pt x="4452" y="982"/>
                </a:lnTo>
                <a:lnTo>
                  <a:pt x="4498" y="991"/>
                </a:lnTo>
                <a:lnTo>
                  <a:pt x="4543" y="1001"/>
                </a:lnTo>
                <a:lnTo>
                  <a:pt x="4588" y="1011"/>
                </a:lnTo>
                <a:lnTo>
                  <a:pt x="4630" y="1021"/>
                </a:lnTo>
                <a:lnTo>
                  <a:pt x="4671" y="1033"/>
                </a:lnTo>
                <a:lnTo>
                  <a:pt x="4711" y="1045"/>
                </a:lnTo>
                <a:lnTo>
                  <a:pt x="4751" y="1058"/>
                </a:lnTo>
                <a:lnTo>
                  <a:pt x="4789" y="1073"/>
                </a:lnTo>
                <a:lnTo>
                  <a:pt x="4827" y="1087"/>
                </a:lnTo>
                <a:lnTo>
                  <a:pt x="4863" y="1102"/>
                </a:lnTo>
                <a:lnTo>
                  <a:pt x="4899" y="1118"/>
                </a:lnTo>
                <a:lnTo>
                  <a:pt x="4934" y="1135"/>
                </a:lnTo>
                <a:lnTo>
                  <a:pt x="4968" y="1151"/>
                </a:lnTo>
                <a:lnTo>
                  <a:pt x="5002" y="1170"/>
                </a:lnTo>
                <a:lnTo>
                  <a:pt x="5034" y="1188"/>
                </a:lnTo>
                <a:lnTo>
                  <a:pt x="5066" y="1207"/>
                </a:lnTo>
                <a:lnTo>
                  <a:pt x="5097" y="1227"/>
                </a:lnTo>
                <a:lnTo>
                  <a:pt x="5127" y="1248"/>
                </a:lnTo>
                <a:lnTo>
                  <a:pt x="5155" y="1268"/>
                </a:lnTo>
                <a:lnTo>
                  <a:pt x="5183" y="1291"/>
                </a:lnTo>
                <a:lnTo>
                  <a:pt x="5211" y="1314"/>
                </a:lnTo>
                <a:lnTo>
                  <a:pt x="5238" y="1336"/>
                </a:lnTo>
                <a:lnTo>
                  <a:pt x="5264" y="1360"/>
                </a:lnTo>
                <a:lnTo>
                  <a:pt x="5288" y="1385"/>
                </a:lnTo>
                <a:lnTo>
                  <a:pt x="5313" y="1411"/>
                </a:lnTo>
                <a:lnTo>
                  <a:pt x="5336" y="1436"/>
                </a:lnTo>
                <a:lnTo>
                  <a:pt x="5358" y="1463"/>
                </a:lnTo>
                <a:lnTo>
                  <a:pt x="5380" y="1490"/>
                </a:lnTo>
                <a:lnTo>
                  <a:pt x="5401" y="1518"/>
                </a:lnTo>
                <a:lnTo>
                  <a:pt x="5420" y="1547"/>
                </a:lnTo>
                <a:lnTo>
                  <a:pt x="5440" y="1575"/>
                </a:lnTo>
                <a:lnTo>
                  <a:pt x="5458" y="1605"/>
                </a:lnTo>
                <a:lnTo>
                  <a:pt x="5475" y="1635"/>
                </a:lnTo>
                <a:lnTo>
                  <a:pt x="5491" y="1666"/>
                </a:lnTo>
                <a:lnTo>
                  <a:pt x="5508" y="1698"/>
                </a:lnTo>
                <a:lnTo>
                  <a:pt x="5522" y="1731"/>
                </a:lnTo>
                <a:lnTo>
                  <a:pt x="5536" y="1764"/>
                </a:lnTo>
                <a:lnTo>
                  <a:pt x="5549" y="1797"/>
                </a:lnTo>
                <a:lnTo>
                  <a:pt x="5561" y="1831"/>
                </a:lnTo>
                <a:lnTo>
                  <a:pt x="5573" y="1866"/>
                </a:lnTo>
                <a:lnTo>
                  <a:pt x="5584" y="1901"/>
                </a:lnTo>
                <a:lnTo>
                  <a:pt x="5594" y="1937"/>
                </a:lnTo>
                <a:lnTo>
                  <a:pt x="5603" y="1973"/>
                </a:lnTo>
                <a:lnTo>
                  <a:pt x="5611" y="2010"/>
                </a:lnTo>
                <a:lnTo>
                  <a:pt x="5618" y="2047"/>
                </a:lnTo>
                <a:lnTo>
                  <a:pt x="5625" y="2085"/>
                </a:lnTo>
                <a:lnTo>
                  <a:pt x="5630" y="2123"/>
                </a:lnTo>
                <a:lnTo>
                  <a:pt x="5635" y="2163"/>
                </a:lnTo>
                <a:lnTo>
                  <a:pt x="5640" y="2203"/>
                </a:lnTo>
                <a:lnTo>
                  <a:pt x="5643" y="2242"/>
                </a:lnTo>
                <a:lnTo>
                  <a:pt x="5645" y="2283"/>
                </a:lnTo>
                <a:lnTo>
                  <a:pt x="5646" y="2324"/>
                </a:lnTo>
                <a:lnTo>
                  <a:pt x="5646" y="2365"/>
                </a:lnTo>
                <a:lnTo>
                  <a:pt x="5646" y="2416"/>
                </a:lnTo>
                <a:lnTo>
                  <a:pt x="5643" y="2465"/>
                </a:lnTo>
                <a:lnTo>
                  <a:pt x="5640" y="2514"/>
                </a:lnTo>
                <a:lnTo>
                  <a:pt x="5633" y="2562"/>
                </a:lnTo>
                <a:lnTo>
                  <a:pt x="5627" y="2611"/>
                </a:lnTo>
                <a:lnTo>
                  <a:pt x="5618" y="2658"/>
                </a:lnTo>
                <a:lnTo>
                  <a:pt x="5609" y="2704"/>
                </a:lnTo>
                <a:lnTo>
                  <a:pt x="5597" y="2751"/>
                </a:lnTo>
                <a:lnTo>
                  <a:pt x="5584" y="2796"/>
                </a:lnTo>
                <a:lnTo>
                  <a:pt x="5571" y="2840"/>
                </a:lnTo>
                <a:lnTo>
                  <a:pt x="5555" y="2884"/>
                </a:lnTo>
                <a:lnTo>
                  <a:pt x="5538" y="2927"/>
                </a:lnTo>
                <a:lnTo>
                  <a:pt x="5519" y="2969"/>
                </a:lnTo>
                <a:lnTo>
                  <a:pt x="5499" y="3009"/>
                </a:lnTo>
                <a:lnTo>
                  <a:pt x="5478" y="3049"/>
                </a:lnTo>
                <a:lnTo>
                  <a:pt x="5455" y="3088"/>
                </a:lnTo>
                <a:lnTo>
                  <a:pt x="5431" y="3127"/>
                </a:lnTo>
                <a:lnTo>
                  <a:pt x="5406" y="3164"/>
                </a:lnTo>
                <a:lnTo>
                  <a:pt x="5378" y="3200"/>
                </a:lnTo>
                <a:lnTo>
                  <a:pt x="5350" y="3235"/>
                </a:lnTo>
                <a:lnTo>
                  <a:pt x="5319" y="3269"/>
                </a:lnTo>
                <a:lnTo>
                  <a:pt x="5288" y="3303"/>
                </a:lnTo>
                <a:lnTo>
                  <a:pt x="5254" y="3335"/>
                </a:lnTo>
                <a:lnTo>
                  <a:pt x="5219" y="3366"/>
                </a:lnTo>
                <a:lnTo>
                  <a:pt x="5184" y="3395"/>
                </a:lnTo>
                <a:lnTo>
                  <a:pt x="5146" y="3424"/>
                </a:lnTo>
                <a:lnTo>
                  <a:pt x="5108" y="3451"/>
                </a:lnTo>
                <a:lnTo>
                  <a:pt x="5068" y="3477"/>
                </a:lnTo>
                <a:lnTo>
                  <a:pt x="5027" y="3502"/>
                </a:lnTo>
                <a:lnTo>
                  <a:pt x="4984" y="3524"/>
                </a:lnTo>
                <a:lnTo>
                  <a:pt x="4940" y="3547"/>
                </a:lnTo>
                <a:lnTo>
                  <a:pt x="4895" y="3567"/>
                </a:lnTo>
                <a:lnTo>
                  <a:pt x="4924" y="3573"/>
                </a:lnTo>
                <a:lnTo>
                  <a:pt x="4951" y="3579"/>
                </a:lnTo>
                <a:lnTo>
                  <a:pt x="4980" y="3586"/>
                </a:lnTo>
                <a:lnTo>
                  <a:pt x="5008" y="3593"/>
                </a:lnTo>
                <a:lnTo>
                  <a:pt x="5036" y="3601"/>
                </a:lnTo>
                <a:lnTo>
                  <a:pt x="5064" y="3610"/>
                </a:lnTo>
                <a:lnTo>
                  <a:pt x="5091" y="3619"/>
                </a:lnTo>
                <a:lnTo>
                  <a:pt x="5118" y="3628"/>
                </a:lnTo>
                <a:lnTo>
                  <a:pt x="5145" y="3639"/>
                </a:lnTo>
                <a:lnTo>
                  <a:pt x="5172" y="3650"/>
                </a:lnTo>
                <a:lnTo>
                  <a:pt x="5199" y="3661"/>
                </a:lnTo>
                <a:lnTo>
                  <a:pt x="5224" y="3673"/>
                </a:lnTo>
                <a:lnTo>
                  <a:pt x="5250" y="3686"/>
                </a:lnTo>
                <a:lnTo>
                  <a:pt x="5276" y="3698"/>
                </a:lnTo>
                <a:lnTo>
                  <a:pt x="5302" y="3713"/>
                </a:lnTo>
                <a:lnTo>
                  <a:pt x="5327" y="3727"/>
                </a:lnTo>
                <a:lnTo>
                  <a:pt x="5352" y="3742"/>
                </a:lnTo>
                <a:lnTo>
                  <a:pt x="5377" y="3756"/>
                </a:lnTo>
                <a:lnTo>
                  <a:pt x="5401" y="3771"/>
                </a:lnTo>
                <a:lnTo>
                  <a:pt x="5424" y="3788"/>
                </a:lnTo>
                <a:lnTo>
                  <a:pt x="5448" y="3804"/>
                </a:lnTo>
                <a:lnTo>
                  <a:pt x="5471" y="3822"/>
                </a:lnTo>
                <a:lnTo>
                  <a:pt x="5493" y="3839"/>
                </a:lnTo>
                <a:lnTo>
                  <a:pt x="5515" y="3857"/>
                </a:lnTo>
                <a:lnTo>
                  <a:pt x="5537" y="3875"/>
                </a:lnTo>
                <a:lnTo>
                  <a:pt x="5558" y="3895"/>
                </a:lnTo>
                <a:lnTo>
                  <a:pt x="5580" y="3915"/>
                </a:lnTo>
                <a:lnTo>
                  <a:pt x="5600" y="3935"/>
                </a:lnTo>
                <a:lnTo>
                  <a:pt x="5620" y="3956"/>
                </a:lnTo>
                <a:lnTo>
                  <a:pt x="5641" y="3976"/>
                </a:lnTo>
                <a:lnTo>
                  <a:pt x="5660" y="3998"/>
                </a:lnTo>
                <a:lnTo>
                  <a:pt x="5679" y="4021"/>
                </a:lnTo>
                <a:lnTo>
                  <a:pt x="5697" y="4043"/>
                </a:lnTo>
                <a:lnTo>
                  <a:pt x="5716" y="4066"/>
                </a:lnTo>
                <a:lnTo>
                  <a:pt x="5733" y="4090"/>
                </a:lnTo>
                <a:lnTo>
                  <a:pt x="5750" y="4113"/>
                </a:lnTo>
                <a:lnTo>
                  <a:pt x="5766" y="4138"/>
                </a:lnTo>
                <a:lnTo>
                  <a:pt x="5783" y="4163"/>
                </a:lnTo>
                <a:lnTo>
                  <a:pt x="5798" y="4189"/>
                </a:lnTo>
                <a:lnTo>
                  <a:pt x="5813" y="4214"/>
                </a:lnTo>
                <a:lnTo>
                  <a:pt x="5828" y="4241"/>
                </a:lnTo>
                <a:lnTo>
                  <a:pt x="5842" y="4268"/>
                </a:lnTo>
                <a:lnTo>
                  <a:pt x="5855" y="4296"/>
                </a:lnTo>
                <a:lnTo>
                  <a:pt x="5868" y="4323"/>
                </a:lnTo>
                <a:lnTo>
                  <a:pt x="5881" y="4352"/>
                </a:lnTo>
                <a:lnTo>
                  <a:pt x="5893" y="4381"/>
                </a:lnTo>
                <a:lnTo>
                  <a:pt x="5904" y="4411"/>
                </a:lnTo>
                <a:lnTo>
                  <a:pt x="5916" y="4441"/>
                </a:lnTo>
                <a:lnTo>
                  <a:pt x="5927" y="4471"/>
                </a:lnTo>
                <a:lnTo>
                  <a:pt x="5936" y="4502"/>
                </a:lnTo>
                <a:lnTo>
                  <a:pt x="5946" y="4532"/>
                </a:lnTo>
                <a:lnTo>
                  <a:pt x="5954" y="4563"/>
                </a:lnTo>
                <a:lnTo>
                  <a:pt x="5962" y="4595"/>
                </a:lnTo>
                <a:lnTo>
                  <a:pt x="5969" y="4627"/>
                </a:lnTo>
                <a:lnTo>
                  <a:pt x="5975" y="4659"/>
                </a:lnTo>
                <a:lnTo>
                  <a:pt x="5982" y="4692"/>
                </a:lnTo>
                <a:lnTo>
                  <a:pt x="5987" y="4725"/>
                </a:lnTo>
                <a:lnTo>
                  <a:pt x="5992" y="4759"/>
                </a:lnTo>
                <a:lnTo>
                  <a:pt x="5995" y="4793"/>
                </a:lnTo>
                <a:lnTo>
                  <a:pt x="5998" y="4827"/>
                </a:lnTo>
                <a:lnTo>
                  <a:pt x="6001" y="4862"/>
                </a:lnTo>
                <a:lnTo>
                  <a:pt x="6002" y="4897"/>
                </a:lnTo>
                <a:lnTo>
                  <a:pt x="6003" y="4932"/>
                </a:lnTo>
                <a:lnTo>
                  <a:pt x="6004" y="4968"/>
                </a:lnTo>
                <a:close/>
                <a:moveTo>
                  <a:pt x="4872" y="2441"/>
                </a:moveTo>
                <a:lnTo>
                  <a:pt x="4871" y="2389"/>
                </a:lnTo>
                <a:lnTo>
                  <a:pt x="4869" y="2340"/>
                </a:lnTo>
                <a:lnTo>
                  <a:pt x="4864" y="2291"/>
                </a:lnTo>
                <a:lnTo>
                  <a:pt x="4858" y="2245"/>
                </a:lnTo>
                <a:lnTo>
                  <a:pt x="4850" y="2199"/>
                </a:lnTo>
                <a:lnTo>
                  <a:pt x="4840" y="2154"/>
                </a:lnTo>
                <a:lnTo>
                  <a:pt x="4829" y="2111"/>
                </a:lnTo>
                <a:lnTo>
                  <a:pt x="4815" y="2069"/>
                </a:lnTo>
                <a:lnTo>
                  <a:pt x="4808" y="2048"/>
                </a:lnTo>
                <a:lnTo>
                  <a:pt x="4801" y="2029"/>
                </a:lnTo>
                <a:lnTo>
                  <a:pt x="4793" y="2009"/>
                </a:lnTo>
                <a:lnTo>
                  <a:pt x="4784" y="1989"/>
                </a:lnTo>
                <a:lnTo>
                  <a:pt x="4774" y="1971"/>
                </a:lnTo>
                <a:lnTo>
                  <a:pt x="4764" y="1952"/>
                </a:lnTo>
                <a:lnTo>
                  <a:pt x="4754" y="1934"/>
                </a:lnTo>
                <a:lnTo>
                  <a:pt x="4743" y="1916"/>
                </a:lnTo>
                <a:lnTo>
                  <a:pt x="4732" y="1899"/>
                </a:lnTo>
                <a:lnTo>
                  <a:pt x="4720" y="1881"/>
                </a:lnTo>
                <a:lnTo>
                  <a:pt x="4707" y="1865"/>
                </a:lnTo>
                <a:lnTo>
                  <a:pt x="4694" y="1848"/>
                </a:lnTo>
                <a:lnTo>
                  <a:pt x="4680" y="1833"/>
                </a:lnTo>
                <a:lnTo>
                  <a:pt x="4666" y="1817"/>
                </a:lnTo>
                <a:lnTo>
                  <a:pt x="4652" y="1802"/>
                </a:lnTo>
                <a:lnTo>
                  <a:pt x="4637" y="1788"/>
                </a:lnTo>
                <a:lnTo>
                  <a:pt x="4621" y="1773"/>
                </a:lnTo>
                <a:lnTo>
                  <a:pt x="4605" y="1759"/>
                </a:lnTo>
                <a:lnTo>
                  <a:pt x="4588" y="1745"/>
                </a:lnTo>
                <a:lnTo>
                  <a:pt x="4571" y="1733"/>
                </a:lnTo>
                <a:lnTo>
                  <a:pt x="4553" y="1720"/>
                </a:lnTo>
                <a:lnTo>
                  <a:pt x="4534" y="1707"/>
                </a:lnTo>
                <a:lnTo>
                  <a:pt x="4516" y="1696"/>
                </a:lnTo>
                <a:lnTo>
                  <a:pt x="4496" y="1685"/>
                </a:lnTo>
                <a:lnTo>
                  <a:pt x="4475" y="1674"/>
                </a:lnTo>
                <a:lnTo>
                  <a:pt x="4455" y="1663"/>
                </a:lnTo>
                <a:lnTo>
                  <a:pt x="4433" y="1654"/>
                </a:lnTo>
                <a:lnTo>
                  <a:pt x="4412" y="1643"/>
                </a:lnTo>
                <a:lnTo>
                  <a:pt x="4389" y="1634"/>
                </a:lnTo>
                <a:lnTo>
                  <a:pt x="4366" y="1626"/>
                </a:lnTo>
                <a:lnTo>
                  <a:pt x="4342" y="1618"/>
                </a:lnTo>
                <a:lnTo>
                  <a:pt x="4318" y="1610"/>
                </a:lnTo>
                <a:lnTo>
                  <a:pt x="4293" y="1602"/>
                </a:lnTo>
                <a:lnTo>
                  <a:pt x="4266" y="1596"/>
                </a:lnTo>
                <a:lnTo>
                  <a:pt x="4240" y="1590"/>
                </a:lnTo>
                <a:lnTo>
                  <a:pt x="4212" y="1584"/>
                </a:lnTo>
                <a:lnTo>
                  <a:pt x="4183" y="1577"/>
                </a:lnTo>
                <a:lnTo>
                  <a:pt x="4152" y="1573"/>
                </a:lnTo>
                <a:lnTo>
                  <a:pt x="4121" y="1568"/>
                </a:lnTo>
                <a:lnTo>
                  <a:pt x="4089" y="1564"/>
                </a:lnTo>
                <a:lnTo>
                  <a:pt x="4056" y="1561"/>
                </a:lnTo>
                <a:lnTo>
                  <a:pt x="4022" y="1558"/>
                </a:lnTo>
                <a:lnTo>
                  <a:pt x="3987" y="1555"/>
                </a:lnTo>
                <a:lnTo>
                  <a:pt x="3951" y="1553"/>
                </a:lnTo>
                <a:lnTo>
                  <a:pt x="3877" y="1550"/>
                </a:lnTo>
                <a:lnTo>
                  <a:pt x="3798" y="1549"/>
                </a:lnTo>
                <a:lnTo>
                  <a:pt x="3021" y="1549"/>
                </a:lnTo>
                <a:lnTo>
                  <a:pt x="3021" y="3379"/>
                </a:lnTo>
                <a:lnTo>
                  <a:pt x="3877" y="3379"/>
                </a:lnTo>
                <a:lnTo>
                  <a:pt x="3913" y="3379"/>
                </a:lnTo>
                <a:lnTo>
                  <a:pt x="3948" y="3378"/>
                </a:lnTo>
                <a:lnTo>
                  <a:pt x="3982" y="3377"/>
                </a:lnTo>
                <a:lnTo>
                  <a:pt x="4016" y="3375"/>
                </a:lnTo>
                <a:lnTo>
                  <a:pt x="4049" y="3372"/>
                </a:lnTo>
                <a:lnTo>
                  <a:pt x="4080" y="3369"/>
                </a:lnTo>
                <a:lnTo>
                  <a:pt x="4111" y="3365"/>
                </a:lnTo>
                <a:lnTo>
                  <a:pt x="4142" y="3360"/>
                </a:lnTo>
                <a:lnTo>
                  <a:pt x="4171" y="3355"/>
                </a:lnTo>
                <a:lnTo>
                  <a:pt x="4198" y="3349"/>
                </a:lnTo>
                <a:lnTo>
                  <a:pt x="4226" y="3343"/>
                </a:lnTo>
                <a:lnTo>
                  <a:pt x="4252" y="3336"/>
                </a:lnTo>
                <a:lnTo>
                  <a:pt x="4278" y="3328"/>
                </a:lnTo>
                <a:lnTo>
                  <a:pt x="4302" y="3320"/>
                </a:lnTo>
                <a:lnTo>
                  <a:pt x="4326" y="3311"/>
                </a:lnTo>
                <a:lnTo>
                  <a:pt x="4349" y="3302"/>
                </a:lnTo>
                <a:lnTo>
                  <a:pt x="4371" y="3292"/>
                </a:lnTo>
                <a:lnTo>
                  <a:pt x="4393" y="3282"/>
                </a:lnTo>
                <a:lnTo>
                  <a:pt x="4414" y="3272"/>
                </a:lnTo>
                <a:lnTo>
                  <a:pt x="4434" y="3261"/>
                </a:lnTo>
                <a:lnTo>
                  <a:pt x="4455" y="3249"/>
                </a:lnTo>
                <a:lnTo>
                  <a:pt x="4474" y="3237"/>
                </a:lnTo>
                <a:lnTo>
                  <a:pt x="4494" y="3225"/>
                </a:lnTo>
                <a:lnTo>
                  <a:pt x="4513" y="3212"/>
                </a:lnTo>
                <a:lnTo>
                  <a:pt x="4531" y="3200"/>
                </a:lnTo>
                <a:lnTo>
                  <a:pt x="4549" y="3186"/>
                </a:lnTo>
                <a:lnTo>
                  <a:pt x="4566" y="3172"/>
                </a:lnTo>
                <a:lnTo>
                  <a:pt x="4583" y="3159"/>
                </a:lnTo>
                <a:lnTo>
                  <a:pt x="4599" y="3144"/>
                </a:lnTo>
                <a:lnTo>
                  <a:pt x="4616" y="3129"/>
                </a:lnTo>
                <a:lnTo>
                  <a:pt x="4631" y="3113"/>
                </a:lnTo>
                <a:lnTo>
                  <a:pt x="4645" y="3098"/>
                </a:lnTo>
                <a:lnTo>
                  <a:pt x="4660" y="3081"/>
                </a:lnTo>
                <a:lnTo>
                  <a:pt x="4674" y="3065"/>
                </a:lnTo>
                <a:lnTo>
                  <a:pt x="4688" y="3047"/>
                </a:lnTo>
                <a:lnTo>
                  <a:pt x="4701" y="3030"/>
                </a:lnTo>
                <a:lnTo>
                  <a:pt x="4713" y="3012"/>
                </a:lnTo>
                <a:lnTo>
                  <a:pt x="4726" y="2995"/>
                </a:lnTo>
                <a:lnTo>
                  <a:pt x="4737" y="2976"/>
                </a:lnTo>
                <a:lnTo>
                  <a:pt x="4747" y="2958"/>
                </a:lnTo>
                <a:lnTo>
                  <a:pt x="4759" y="2939"/>
                </a:lnTo>
                <a:lnTo>
                  <a:pt x="4768" y="2920"/>
                </a:lnTo>
                <a:lnTo>
                  <a:pt x="4778" y="2900"/>
                </a:lnTo>
                <a:lnTo>
                  <a:pt x="4787" y="2879"/>
                </a:lnTo>
                <a:lnTo>
                  <a:pt x="4796" y="2860"/>
                </a:lnTo>
                <a:lnTo>
                  <a:pt x="4804" y="2839"/>
                </a:lnTo>
                <a:lnTo>
                  <a:pt x="4811" y="2818"/>
                </a:lnTo>
                <a:lnTo>
                  <a:pt x="4819" y="2796"/>
                </a:lnTo>
                <a:lnTo>
                  <a:pt x="4831" y="2753"/>
                </a:lnTo>
                <a:lnTo>
                  <a:pt x="4842" y="2709"/>
                </a:lnTo>
                <a:lnTo>
                  <a:pt x="4852" y="2665"/>
                </a:lnTo>
                <a:lnTo>
                  <a:pt x="4859" y="2621"/>
                </a:lnTo>
                <a:lnTo>
                  <a:pt x="4865" y="2576"/>
                </a:lnTo>
                <a:lnTo>
                  <a:pt x="4869" y="2531"/>
                </a:lnTo>
                <a:lnTo>
                  <a:pt x="4871" y="2486"/>
                </a:lnTo>
                <a:lnTo>
                  <a:pt x="4872" y="2441"/>
                </a:lnTo>
                <a:close/>
                <a:moveTo>
                  <a:pt x="5214" y="5012"/>
                </a:moveTo>
                <a:lnTo>
                  <a:pt x="5213" y="4981"/>
                </a:lnTo>
                <a:lnTo>
                  <a:pt x="5212" y="4950"/>
                </a:lnTo>
                <a:lnTo>
                  <a:pt x="5211" y="4919"/>
                </a:lnTo>
                <a:lnTo>
                  <a:pt x="5209" y="4889"/>
                </a:lnTo>
                <a:lnTo>
                  <a:pt x="5206" y="4859"/>
                </a:lnTo>
                <a:lnTo>
                  <a:pt x="5203" y="4830"/>
                </a:lnTo>
                <a:lnTo>
                  <a:pt x="5199" y="4801"/>
                </a:lnTo>
                <a:lnTo>
                  <a:pt x="5194" y="4774"/>
                </a:lnTo>
                <a:lnTo>
                  <a:pt x="5188" y="4746"/>
                </a:lnTo>
                <a:lnTo>
                  <a:pt x="5182" y="4719"/>
                </a:lnTo>
                <a:lnTo>
                  <a:pt x="5175" y="4692"/>
                </a:lnTo>
                <a:lnTo>
                  <a:pt x="5168" y="4666"/>
                </a:lnTo>
                <a:lnTo>
                  <a:pt x="5160" y="4641"/>
                </a:lnTo>
                <a:lnTo>
                  <a:pt x="5151" y="4616"/>
                </a:lnTo>
                <a:lnTo>
                  <a:pt x="5142" y="4591"/>
                </a:lnTo>
                <a:lnTo>
                  <a:pt x="5132" y="4568"/>
                </a:lnTo>
                <a:lnTo>
                  <a:pt x="5121" y="4544"/>
                </a:lnTo>
                <a:lnTo>
                  <a:pt x="5110" y="4520"/>
                </a:lnTo>
                <a:lnTo>
                  <a:pt x="5099" y="4498"/>
                </a:lnTo>
                <a:lnTo>
                  <a:pt x="5087" y="4475"/>
                </a:lnTo>
                <a:lnTo>
                  <a:pt x="5074" y="4453"/>
                </a:lnTo>
                <a:lnTo>
                  <a:pt x="5062" y="4432"/>
                </a:lnTo>
                <a:lnTo>
                  <a:pt x="5047" y="4410"/>
                </a:lnTo>
                <a:lnTo>
                  <a:pt x="5033" y="4389"/>
                </a:lnTo>
                <a:lnTo>
                  <a:pt x="5018" y="4370"/>
                </a:lnTo>
                <a:lnTo>
                  <a:pt x="5003" y="4350"/>
                </a:lnTo>
                <a:lnTo>
                  <a:pt x="4986" y="4332"/>
                </a:lnTo>
                <a:lnTo>
                  <a:pt x="4970" y="4313"/>
                </a:lnTo>
                <a:lnTo>
                  <a:pt x="4952" y="4295"/>
                </a:lnTo>
                <a:lnTo>
                  <a:pt x="4934" y="4277"/>
                </a:lnTo>
                <a:lnTo>
                  <a:pt x="4915" y="4261"/>
                </a:lnTo>
                <a:lnTo>
                  <a:pt x="4896" y="4244"/>
                </a:lnTo>
                <a:lnTo>
                  <a:pt x="4876" y="4228"/>
                </a:lnTo>
                <a:lnTo>
                  <a:pt x="4857" y="4212"/>
                </a:lnTo>
                <a:lnTo>
                  <a:pt x="4836" y="4197"/>
                </a:lnTo>
                <a:lnTo>
                  <a:pt x="4814" y="4182"/>
                </a:lnTo>
                <a:lnTo>
                  <a:pt x="4792" y="4168"/>
                </a:lnTo>
                <a:lnTo>
                  <a:pt x="4769" y="4155"/>
                </a:lnTo>
                <a:lnTo>
                  <a:pt x="4746" y="4141"/>
                </a:lnTo>
                <a:lnTo>
                  <a:pt x="4722" y="4129"/>
                </a:lnTo>
                <a:lnTo>
                  <a:pt x="4697" y="4116"/>
                </a:lnTo>
                <a:lnTo>
                  <a:pt x="4672" y="4104"/>
                </a:lnTo>
                <a:lnTo>
                  <a:pt x="4646" y="4093"/>
                </a:lnTo>
                <a:lnTo>
                  <a:pt x="4620" y="4082"/>
                </a:lnTo>
                <a:lnTo>
                  <a:pt x="4593" y="4072"/>
                </a:lnTo>
                <a:lnTo>
                  <a:pt x="4565" y="4062"/>
                </a:lnTo>
                <a:lnTo>
                  <a:pt x="4537" y="4053"/>
                </a:lnTo>
                <a:lnTo>
                  <a:pt x="4508" y="4044"/>
                </a:lnTo>
                <a:lnTo>
                  <a:pt x="4479" y="4036"/>
                </a:lnTo>
                <a:lnTo>
                  <a:pt x="4448" y="4028"/>
                </a:lnTo>
                <a:lnTo>
                  <a:pt x="4417" y="4022"/>
                </a:lnTo>
                <a:lnTo>
                  <a:pt x="4384" y="4014"/>
                </a:lnTo>
                <a:lnTo>
                  <a:pt x="4351" y="4008"/>
                </a:lnTo>
                <a:lnTo>
                  <a:pt x="4316" y="4003"/>
                </a:lnTo>
                <a:lnTo>
                  <a:pt x="4281" y="3998"/>
                </a:lnTo>
                <a:lnTo>
                  <a:pt x="4245" y="3994"/>
                </a:lnTo>
                <a:lnTo>
                  <a:pt x="4207" y="3990"/>
                </a:lnTo>
                <a:lnTo>
                  <a:pt x="4168" y="3987"/>
                </a:lnTo>
                <a:lnTo>
                  <a:pt x="4129" y="3984"/>
                </a:lnTo>
                <a:lnTo>
                  <a:pt x="4090" y="3982"/>
                </a:lnTo>
                <a:lnTo>
                  <a:pt x="4049" y="3979"/>
                </a:lnTo>
                <a:lnTo>
                  <a:pt x="4007" y="3978"/>
                </a:lnTo>
                <a:lnTo>
                  <a:pt x="3963" y="3977"/>
                </a:lnTo>
                <a:lnTo>
                  <a:pt x="3920" y="3977"/>
                </a:lnTo>
                <a:lnTo>
                  <a:pt x="3021" y="3977"/>
                </a:lnTo>
                <a:lnTo>
                  <a:pt x="3021" y="5968"/>
                </a:lnTo>
                <a:lnTo>
                  <a:pt x="4112" y="5968"/>
                </a:lnTo>
                <a:lnTo>
                  <a:pt x="4176" y="5967"/>
                </a:lnTo>
                <a:lnTo>
                  <a:pt x="4238" y="5964"/>
                </a:lnTo>
                <a:lnTo>
                  <a:pt x="4267" y="5962"/>
                </a:lnTo>
                <a:lnTo>
                  <a:pt x="4296" y="5960"/>
                </a:lnTo>
                <a:lnTo>
                  <a:pt x="4325" y="5957"/>
                </a:lnTo>
                <a:lnTo>
                  <a:pt x="4354" y="5953"/>
                </a:lnTo>
                <a:lnTo>
                  <a:pt x="4382" y="5949"/>
                </a:lnTo>
                <a:lnTo>
                  <a:pt x="4410" y="5945"/>
                </a:lnTo>
                <a:lnTo>
                  <a:pt x="4436" y="5940"/>
                </a:lnTo>
                <a:lnTo>
                  <a:pt x="4462" y="5933"/>
                </a:lnTo>
                <a:lnTo>
                  <a:pt x="4488" y="5928"/>
                </a:lnTo>
                <a:lnTo>
                  <a:pt x="4514" y="5921"/>
                </a:lnTo>
                <a:lnTo>
                  <a:pt x="4538" y="5915"/>
                </a:lnTo>
                <a:lnTo>
                  <a:pt x="4562" y="5908"/>
                </a:lnTo>
                <a:lnTo>
                  <a:pt x="4586" y="5899"/>
                </a:lnTo>
                <a:lnTo>
                  <a:pt x="4609" y="5891"/>
                </a:lnTo>
                <a:lnTo>
                  <a:pt x="4633" y="5883"/>
                </a:lnTo>
                <a:lnTo>
                  <a:pt x="4656" y="5874"/>
                </a:lnTo>
                <a:lnTo>
                  <a:pt x="4678" y="5863"/>
                </a:lnTo>
                <a:lnTo>
                  <a:pt x="4700" y="5853"/>
                </a:lnTo>
                <a:lnTo>
                  <a:pt x="4722" y="5843"/>
                </a:lnTo>
                <a:lnTo>
                  <a:pt x="4743" y="5831"/>
                </a:lnTo>
                <a:lnTo>
                  <a:pt x="4764" y="5820"/>
                </a:lnTo>
                <a:lnTo>
                  <a:pt x="4785" y="5808"/>
                </a:lnTo>
                <a:lnTo>
                  <a:pt x="4805" y="5795"/>
                </a:lnTo>
                <a:lnTo>
                  <a:pt x="4825" y="5782"/>
                </a:lnTo>
                <a:lnTo>
                  <a:pt x="4844" y="5769"/>
                </a:lnTo>
                <a:lnTo>
                  <a:pt x="4864" y="5755"/>
                </a:lnTo>
                <a:lnTo>
                  <a:pt x="4882" y="5741"/>
                </a:lnTo>
                <a:lnTo>
                  <a:pt x="4901" y="5725"/>
                </a:lnTo>
                <a:lnTo>
                  <a:pt x="4918" y="5711"/>
                </a:lnTo>
                <a:lnTo>
                  <a:pt x="4937" y="5694"/>
                </a:lnTo>
                <a:lnTo>
                  <a:pt x="4953" y="5679"/>
                </a:lnTo>
                <a:lnTo>
                  <a:pt x="4970" y="5662"/>
                </a:lnTo>
                <a:lnTo>
                  <a:pt x="4986" y="5645"/>
                </a:lnTo>
                <a:lnTo>
                  <a:pt x="5002" y="5627"/>
                </a:lnTo>
                <a:lnTo>
                  <a:pt x="5017" y="5610"/>
                </a:lnTo>
                <a:lnTo>
                  <a:pt x="5032" y="5591"/>
                </a:lnTo>
                <a:lnTo>
                  <a:pt x="5046" y="5573"/>
                </a:lnTo>
                <a:lnTo>
                  <a:pt x="5060" y="5553"/>
                </a:lnTo>
                <a:lnTo>
                  <a:pt x="5072" y="5534"/>
                </a:lnTo>
                <a:lnTo>
                  <a:pt x="5085" y="5513"/>
                </a:lnTo>
                <a:lnTo>
                  <a:pt x="5097" y="5493"/>
                </a:lnTo>
                <a:lnTo>
                  <a:pt x="5109" y="5471"/>
                </a:lnTo>
                <a:lnTo>
                  <a:pt x="5119" y="5449"/>
                </a:lnTo>
                <a:lnTo>
                  <a:pt x="5131" y="5428"/>
                </a:lnTo>
                <a:lnTo>
                  <a:pt x="5140" y="5405"/>
                </a:lnTo>
                <a:lnTo>
                  <a:pt x="5149" y="5381"/>
                </a:lnTo>
                <a:lnTo>
                  <a:pt x="5158" y="5359"/>
                </a:lnTo>
                <a:lnTo>
                  <a:pt x="5167" y="5334"/>
                </a:lnTo>
                <a:lnTo>
                  <a:pt x="5174" y="5310"/>
                </a:lnTo>
                <a:lnTo>
                  <a:pt x="5181" y="5285"/>
                </a:lnTo>
                <a:lnTo>
                  <a:pt x="5187" y="5260"/>
                </a:lnTo>
                <a:lnTo>
                  <a:pt x="5192" y="5234"/>
                </a:lnTo>
                <a:lnTo>
                  <a:pt x="5198" y="5207"/>
                </a:lnTo>
                <a:lnTo>
                  <a:pt x="5202" y="5181"/>
                </a:lnTo>
                <a:lnTo>
                  <a:pt x="5206" y="5154"/>
                </a:lnTo>
                <a:lnTo>
                  <a:pt x="5209" y="5126"/>
                </a:lnTo>
                <a:lnTo>
                  <a:pt x="5211" y="5098"/>
                </a:lnTo>
                <a:lnTo>
                  <a:pt x="5212" y="5070"/>
                </a:lnTo>
                <a:lnTo>
                  <a:pt x="5213" y="5041"/>
                </a:lnTo>
                <a:lnTo>
                  <a:pt x="5214" y="501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srgbClr val="000000">
                <a:alpha val="25000"/>
              </a:srgbClr>
            </a:outerShdw>
          </a:effectLst>
          <a:extLst/>
        </p:spPr>
        <p:txBody>
          <a:bodyPr anchor="ctr"/>
          <a:lstStyle/>
          <a:p>
            <a:endParaRPr lang="en-US"/>
          </a:p>
        </p:txBody>
      </p:sp>
      <p:sp>
        <p:nvSpPr>
          <p:cNvPr id="11" name="Rectangle 3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137025" y="3044825"/>
            <a:ext cx="19970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fr-FR" b="1" dirty="0" err="1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Transfor</a:t>
            </a:r>
            <a:r>
              <a:rPr lang="fr-FR" b="1" dirty="0" err="1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m</a:t>
            </a:r>
            <a:endParaRPr lang="en-US" b="1" dirty="0">
              <a:solidFill>
                <a:schemeClr val="tx2">
                  <a:lumMod val="75000"/>
                </a:schemeClr>
              </a:solidFill>
              <a:latin typeface="Calibri" charset="0"/>
            </a:endParaRPr>
          </a:p>
        </p:txBody>
      </p:sp>
      <p:sp>
        <p:nvSpPr>
          <p:cNvPr id="12" name="Rectangle 10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171950" y="4391025"/>
            <a:ext cx="1576388" cy="1325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984807"/>
              </a:solidFill>
            </a:endParaRPr>
          </a:p>
        </p:txBody>
      </p:sp>
      <p:sp>
        <p:nvSpPr>
          <p:cNvPr id="13" name="Rectangle 10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748338" y="4389438"/>
            <a:ext cx="2320925" cy="1325562"/>
          </a:xfrm>
          <a:prstGeom prst="rect">
            <a:avLst/>
          </a:prstGeom>
          <a:solidFill>
            <a:schemeClr val="bg1">
              <a:lumMod val="85000"/>
              <a:alpha val="7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4" name="Freeform 47"/>
          <p:cNvSpPr>
            <a:spLocks noEditPoints="1"/>
          </p:cNvSpPr>
          <p:nvPr>
            <p:custDataLst>
              <p:tags r:id="rId13"/>
            </p:custDataLst>
          </p:nvPr>
        </p:nvSpPr>
        <p:spPr bwMode="auto">
          <a:xfrm>
            <a:off x="4481513" y="4543425"/>
            <a:ext cx="941387" cy="939800"/>
          </a:xfrm>
          <a:custGeom>
            <a:avLst/>
            <a:gdLst>
              <a:gd name="T0" fmla="*/ 2147483647 w 7576"/>
              <a:gd name="T1" fmla="*/ 2147483647 h 7575"/>
              <a:gd name="T2" fmla="*/ 2147483647 w 7576"/>
              <a:gd name="T3" fmla="*/ 2147483647 h 7575"/>
              <a:gd name="T4" fmla="*/ 2147483647 w 7576"/>
              <a:gd name="T5" fmla="*/ 2147483647 h 7575"/>
              <a:gd name="T6" fmla="*/ 2147483647 w 7576"/>
              <a:gd name="T7" fmla="*/ 2147483647 h 7575"/>
              <a:gd name="T8" fmla="*/ 2147483647 w 7576"/>
              <a:gd name="T9" fmla="*/ 2147483647 h 7575"/>
              <a:gd name="T10" fmla="*/ 2147483647 w 7576"/>
              <a:gd name="T11" fmla="*/ 2147483647 h 7575"/>
              <a:gd name="T12" fmla="*/ 2147483647 w 7576"/>
              <a:gd name="T13" fmla="*/ 2147483647 h 7575"/>
              <a:gd name="T14" fmla="*/ 2147483647 w 7576"/>
              <a:gd name="T15" fmla="*/ 2147483647 h 7575"/>
              <a:gd name="T16" fmla="*/ 2147483647 w 7576"/>
              <a:gd name="T17" fmla="*/ 2147483647 h 7575"/>
              <a:gd name="T18" fmla="*/ 2147483647 w 7576"/>
              <a:gd name="T19" fmla="*/ 2147483647 h 7575"/>
              <a:gd name="T20" fmla="*/ 2147483647 w 7576"/>
              <a:gd name="T21" fmla="*/ 2147483647 h 7575"/>
              <a:gd name="T22" fmla="*/ 2147483647 w 7576"/>
              <a:gd name="T23" fmla="*/ 2147483647 h 7575"/>
              <a:gd name="T24" fmla="*/ 2147483647 w 7576"/>
              <a:gd name="T25" fmla="*/ 2147483647 h 7575"/>
              <a:gd name="T26" fmla="*/ 2147483647 w 7576"/>
              <a:gd name="T27" fmla="*/ 2147483647 h 7575"/>
              <a:gd name="T28" fmla="*/ 2147483647 w 7576"/>
              <a:gd name="T29" fmla="*/ 2147483647 h 7575"/>
              <a:gd name="T30" fmla="*/ 2147483647 w 7576"/>
              <a:gd name="T31" fmla="*/ 2147483647 h 7575"/>
              <a:gd name="T32" fmla="*/ 2147483647 w 7576"/>
              <a:gd name="T33" fmla="*/ 2147483647 h 7575"/>
              <a:gd name="T34" fmla="*/ 2147483647 w 7576"/>
              <a:gd name="T35" fmla="*/ 2147483647 h 7575"/>
              <a:gd name="T36" fmla="*/ 2147483647 w 7576"/>
              <a:gd name="T37" fmla="*/ 2147483647 h 7575"/>
              <a:gd name="T38" fmla="*/ 2147483647 w 7576"/>
              <a:gd name="T39" fmla="*/ 2147483647 h 7575"/>
              <a:gd name="T40" fmla="*/ 2147483647 w 7576"/>
              <a:gd name="T41" fmla="*/ 2147483647 h 7575"/>
              <a:gd name="T42" fmla="*/ 2147483647 w 7576"/>
              <a:gd name="T43" fmla="*/ 2147483647 h 7575"/>
              <a:gd name="T44" fmla="*/ 2147483647 w 7576"/>
              <a:gd name="T45" fmla="*/ 2147483647 h 7575"/>
              <a:gd name="T46" fmla="*/ 2147483647 w 7576"/>
              <a:gd name="T47" fmla="*/ 2147483647 h 7575"/>
              <a:gd name="T48" fmla="*/ 2147483647 w 7576"/>
              <a:gd name="T49" fmla="*/ 2147483647 h 7575"/>
              <a:gd name="T50" fmla="*/ 2147483647 w 7576"/>
              <a:gd name="T51" fmla="*/ 2147483647 h 7575"/>
              <a:gd name="T52" fmla="*/ 2147483647 w 7576"/>
              <a:gd name="T53" fmla="*/ 2147483647 h 7575"/>
              <a:gd name="T54" fmla="*/ 2147483647 w 7576"/>
              <a:gd name="T55" fmla="*/ 2147483647 h 7575"/>
              <a:gd name="T56" fmla="*/ 2147483647 w 7576"/>
              <a:gd name="T57" fmla="*/ 2147483647 h 7575"/>
              <a:gd name="T58" fmla="*/ 2147483647 w 7576"/>
              <a:gd name="T59" fmla="*/ 2147483647 h 7575"/>
              <a:gd name="T60" fmla="*/ 2147483647 w 7576"/>
              <a:gd name="T61" fmla="*/ 2147483647 h 7575"/>
              <a:gd name="T62" fmla="*/ 2147483647 w 7576"/>
              <a:gd name="T63" fmla="*/ 2147483647 h 7575"/>
              <a:gd name="T64" fmla="*/ 2147483647 w 7576"/>
              <a:gd name="T65" fmla="*/ 2147483647 h 7575"/>
              <a:gd name="T66" fmla="*/ 2147483647 w 7576"/>
              <a:gd name="T67" fmla="*/ 2147483647 h 7575"/>
              <a:gd name="T68" fmla="*/ 2147483647 w 7576"/>
              <a:gd name="T69" fmla="*/ 2147483647 h 7575"/>
              <a:gd name="T70" fmla="*/ 2147483647 w 7576"/>
              <a:gd name="T71" fmla="*/ 2147483647 h 7575"/>
              <a:gd name="T72" fmla="*/ 2147483647 w 7576"/>
              <a:gd name="T73" fmla="*/ 2147483647 h 7575"/>
              <a:gd name="T74" fmla="*/ 2147483647 w 7576"/>
              <a:gd name="T75" fmla="*/ 2147483647 h 7575"/>
              <a:gd name="T76" fmla="*/ 2147483647 w 7576"/>
              <a:gd name="T77" fmla="*/ 2147483647 h 7575"/>
              <a:gd name="T78" fmla="*/ 2147483647 w 7576"/>
              <a:gd name="T79" fmla="*/ 2147483647 h 7575"/>
              <a:gd name="T80" fmla="*/ 2147483647 w 7576"/>
              <a:gd name="T81" fmla="*/ 2147483647 h 7575"/>
              <a:gd name="T82" fmla="*/ 2147483647 w 7576"/>
              <a:gd name="T83" fmla="*/ 2147483647 h 7575"/>
              <a:gd name="T84" fmla="*/ 2147483647 w 7576"/>
              <a:gd name="T85" fmla="*/ 2147483647 h 7575"/>
              <a:gd name="T86" fmla="*/ 2147483647 w 7576"/>
              <a:gd name="T87" fmla="*/ 2147483647 h 7575"/>
              <a:gd name="T88" fmla="*/ 2147483647 w 7576"/>
              <a:gd name="T89" fmla="*/ 2147483647 h 7575"/>
              <a:gd name="T90" fmla="*/ 2147483647 w 7576"/>
              <a:gd name="T91" fmla="*/ 2147483647 h 7575"/>
              <a:gd name="T92" fmla="*/ 2147483647 w 7576"/>
              <a:gd name="T93" fmla="*/ 2147483647 h 7575"/>
              <a:gd name="T94" fmla="*/ 2147483647 w 7576"/>
              <a:gd name="T95" fmla="*/ 2147483647 h 7575"/>
              <a:gd name="T96" fmla="*/ 2147483647 w 7576"/>
              <a:gd name="T97" fmla="*/ 2147483647 h 7575"/>
              <a:gd name="T98" fmla="*/ 2147483647 w 7576"/>
              <a:gd name="T99" fmla="*/ 2147483647 h 7575"/>
              <a:gd name="T100" fmla="*/ 2147483647 w 7576"/>
              <a:gd name="T101" fmla="*/ 2147483647 h 7575"/>
              <a:gd name="T102" fmla="*/ 2147483647 w 7576"/>
              <a:gd name="T103" fmla="*/ 2147483647 h 7575"/>
              <a:gd name="T104" fmla="*/ 2147483647 w 7576"/>
              <a:gd name="T105" fmla="*/ 2147483647 h 7575"/>
              <a:gd name="T106" fmla="*/ 2147483647 w 7576"/>
              <a:gd name="T107" fmla="*/ 2147483647 h 7575"/>
              <a:gd name="T108" fmla="*/ 2147483647 w 7576"/>
              <a:gd name="T109" fmla="*/ 2147483647 h 7575"/>
              <a:gd name="T110" fmla="*/ 2147483647 w 7576"/>
              <a:gd name="T111" fmla="*/ 2147483647 h 7575"/>
              <a:gd name="T112" fmla="*/ 2147483647 w 7576"/>
              <a:gd name="T113" fmla="*/ 2147483647 h 7575"/>
              <a:gd name="T114" fmla="*/ 2147483647 w 7576"/>
              <a:gd name="T115" fmla="*/ 2147483647 h 7575"/>
              <a:gd name="T116" fmla="*/ 2147483647 w 7576"/>
              <a:gd name="T117" fmla="*/ 2147483647 h 7575"/>
              <a:gd name="T118" fmla="*/ 2147483647 w 7576"/>
              <a:gd name="T119" fmla="*/ 2147483647 h 7575"/>
              <a:gd name="T120" fmla="*/ 2147483647 w 7576"/>
              <a:gd name="T121" fmla="*/ 2147483647 h 757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576" h="7575">
                <a:moveTo>
                  <a:pt x="3788" y="7575"/>
                </a:moveTo>
                <a:lnTo>
                  <a:pt x="3593" y="7570"/>
                </a:lnTo>
                <a:lnTo>
                  <a:pt x="3401" y="7555"/>
                </a:lnTo>
                <a:lnTo>
                  <a:pt x="3211" y="7532"/>
                </a:lnTo>
                <a:lnTo>
                  <a:pt x="3025" y="7498"/>
                </a:lnTo>
                <a:lnTo>
                  <a:pt x="2841" y="7456"/>
                </a:lnTo>
                <a:lnTo>
                  <a:pt x="2661" y="7405"/>
                </a:lnTo>
                <a:lnTo>
                  <a:pt x="2485" y="7345"/>
                </a:lnTo>
                <a:lnTo>
                  <a:pt x="2313" y="7277"/>
                </a:lnTo>
                <a:lnTo>
                  <a:pt x="2146" y="7201"/>
                </a:lnTo>
                <a:lnTo>
                  <a:pt x="1982" y="7118"/>
                </a:lnTo>
                <a:lnTo>
                  <a:pt x="1823" y="7027"/>
                </a:lnTo>
                <a:lnTo>
                  <a:pt x="1670" y="6928"/>
                </a:lnTo>
                <a:lnTo>
                  <a:pt x="1522" y="6822"/>
                </a:lnTo>
                <a:lnTo>
                  <a:pt x="1378" y="6710"/>
                </a:lnTo>
                <a:lnTo>
                  <a:pt x="1240" y="6591"/>
                </a:lnTo>
                <a:lnTo>
                  <a:pt x="1109" y="6466"/>
                </a:lnTo>
                <a:lnTo>
                  <a:pt x="984" y="6334"/>
                </a:lnTo>
                <a:lnTo>
                  <a:pt x="864" y="6197"/>
                </a:lnTo>
                <a:lnTo>
                  <a:pt x="752" y="6054"/>
                </a:lnTo>
                <a:lnTo>
                  <a:pt x="647" y="5905"/>
                </a:lnTo>
                <a:lnTo>
                  <a:pt x="548" y="5752"/>
                </a:lnTo>
                <a:lnTo>
                  <a:pt x="456" y="5593"/>
                </a:lnTo>
                <a:lnTo>
                  <a:pt x="373" y="5430"/>
                </a:lnTo>
                <a:lnTo>
                  <a:pt x="298" y="5262"/>
                </a:lnTo>
                <a:lnTo>
                  <a:pt x="230" y="5090"/>
                </a:lnTo>
                <a:lnTo>
                  <a:pt x="170" y="4913"/>
                </a:lnTo>
                <a:lnTo>
                  <a:pt x="118" y="4734"/>
                </a:lnTo>
                <a:lnTo>
                  <a:pt x="76" y="4551"/>
                </a:lnTo>
                <a:lnTo>
                  <a:pt x="43" y="4364"/>
                </a:lnTo>
                <a:lnTo>
                  <a:pt x="20" y="4175"/>
                </a:lnTo>
                <a:lnTo>
                  <a:pt x="4" y="3982"/>
                </a:lnTo>
                <a:lnTo>
                  <a:pt x="0" y="3788"/>
                </a:lnTo>
                <a:lnTo>
                  <a:pt x="4" y="3593"/>
                </a:lnTo>
                <a:lnTo>
                  <a:pt x="20" y="3400"/>
                </a:lnTo>
                <a:lnTo>
                  <a:pt x="43" y="3211"/>
                </a:lnTo>
                <a:lnTo>
                  <a:pt x="76" y="3024"/>
                </a:lnTo>
                <a:lnTo>
                  <a:pt x="118" y="2841"/>
                </a:lnTo>
                <a:lnTo>
                  <a:pt x="170" y="2661"/>
                </a:lnTo>
                <a:lnTo>
                  <a:pt x="230" y="2486"/>
                </a:lnTo>
                <a:lnTo>
                  <a:pt x="298" y="2314"/>
                </a:lnTo>
                <a:lnTo>
                  <a:pt x="373" y="2146"/>
                </a:lnTo>
                <a:lnTo>
                  <a:pt x="456" y="1982"/>
                </a:lnTo>
                <a:lnTo>
                  <a:pt x="548" y="1823"/>
                </a:lnTo>
                <a:lnTo>
                  <a:pt x="647" y="1670"/>
                </a:lnTo>
                <a:lnTo>
                  <a:pt x="752" y="1522"/>
                </a:lnTo>
                <a:lnTo>
                  <a:pt x="864" y="1379"/>
                </a:lnTo>
                <a:lnTo>
                  <a:pt x="984" y="1241"/>
                </a:lnTo>
                <a:lnTo>
                  <a:pt x="1109" y="1110"/>
                </a:lnTo>
                <a:lnTo>
                  <a:pt x="1240" y="984"/>
                </a:lnTo>
                <a:lnTo>
                  <a:pt x="1378" y="865"/>
                </a:lnTo>
                <a:lnTo>
                  <a:pt x="1522" y="752"/>
                </a:lnTo>
                <a:lnTo>
                  <a:pt x="1670" y="647"/>
                </a:lnTo>
                <a:lnTo>
                  <a:pt x="1823" y="548"/>
                </a:lnTo>
                <a:lnTo>
                  <a:pt x="1982" y="458"/>
                </a:lnTo>
                <a:lnTo>
                  <a:pt x="2146" y="373"/>
                </a:lnTo>
                <a:lnTo>
                  <a:pt x="2313" y="298"/>
                </a:lnTo>
                <a:lnTo>
                  <a:pt x="2485" y="230"/>
                </a:lnTo>
                <a:lnTo>
                  <a:pt x="2661" y="170"/>
                </a:lnTo>
                <a:lnTo>
                  <a:pt x="2841" y="119"/>
                </a:lnTo>
                <a:lnTo>
                  <a:pt x="3025" y="77"/>
                </a:lnTo>
                <a:lnTo>
                  <a:pt x="3211" y="44"/>
                </a:lnTo>
                <a:lnTo>
                  <a:pt x="3401" y="20"/>
                </a:lnTo>
                <a:lnTo>
                  <a:pt x="3593" y="6"/>
                </a:lnTo>
                <a:lnTo>
                  <a:pt x="3788" y="0"/>
                </a:lnTo>
                <a:lnTo>
                  <a:pt x="3983" y="6"/>
                </a:lnTo>
                <a:lnTo>
                  <a:pt x="4175" y="20"/>
                </a:lnTo>
                <a:lnTo>
                  <a:pt x="4365" y="44"/>
                </a:lnTo>
                <a:lnTo>
                  <a:pt x="4551" y="77"/>
                </a:lnTo>
                <a:lnTo>
                  <a:pt x="4735" y="119"/>
                </a:lnTo>
                <a:lnTo>
                  <a:pt x="4914" y="170"/>
                </a:lnTo>
                <a:lnTo>
                  <a:pt x="5090" y="230"/>
                </a:lnTo>
                <a:lnTo>
                  <a:pt x="5262" y="298"/>
                </a:lnTo>
                <a:lnTo>
                  <a:pt x="5430" y="373"/>
                </a:lnTo>
                <a:lnTo>
                  <a:pt x="5594" y="458"/>
                </a:lnTo>
                <a:lnTo>
                  <a:pt x="5753" y="548"/>
                </a:lnTo>
                <a:lnTo>
                  <a:pt x="5906" y="647"/>
                </a:lnTo>
                <a:lnTo>
                  <a:pt x="6054" y="752"/>
                </a:lnTo>
                <a:lnTo>
                  <a:pt x="6198" y="865"/>
                </a:lnTo>
                <a:lnTo>
                  <a:pt x="6335" y="984"/>
                </a:lnTo>
                <a:lnTo>
                  <a:pt x="6466" y="1110"/>
                </a:lnTo>
                <a:lnTo>
                  <a:pt x="6592" y="1241"/>
                </a:lnTo>
                <a:lnTo>
                  <a:pt x="6711" y="1379"/>
                </a:lnTo>
                <a:lnTo>
                  <a:pt x="6823" y="1522"/>
                </a:lnTo>
                <a:lnTo>
                  <a:pt x="6929" y="1670"/>
                </a:lnTo>
                <a:lnTo>
                  <a:pt x="7028" y="1823"/>
                </a:lnTo>
                <a:lnTo>
                  <a:pt x="7119" y="1982"/>
                </a:lnTo>
                <a:lnTo>
                  <a:pt x="7202" y="2146"/>
                </a:lnTo>
                <a:lnTo>
                  <a:pt x="7278" y="2314"/>
                </a:lnTo>
                <a:lnTo>
                  <a:pt x="7346" y="2486"/>
                </a:lnTo>
                <a:lnTo>
                  <a:pt x="7406" y="2661"/>
                </a:lnTo>
                <a:lnTo>
                  <a:pt x="7456" y="2841"/>
                </a:lnTo>
                <a:lnTo>
                  <a:pt x="7499" y="3024"/>
                </a:lnTo>
                <a:lnTo>
                  <a:pt x="7533" y="3211"/>
                </a:lnTo>
                <a:lnTo>
                  <a:pt x="7556" y="3400"/>
                </a:lnTo>
                <a:lnTo>
                  <a:pt x="7571" y="3593"/>
                </a:lnTo>
                <a:lnTo>
                  <a:pt x="7576" y="3788"/>
                </a:lnTo>
                <a:lnTo>
                  <a:pt x="7571" y="3982"/>
                </a:lnTo>
                <a:lnTo>
                  <a:pt x="7556" y="4175"/>
                </a:lnTo>
                <a:lnTo>
                  <a:pt x="7533" y="4364"/>
                </a:lnTo>
                <a:lnTo>
                  <a:pt x="7499" y="4551"/>
                </a:lnTo>
                <a:lnTo>
                  <a:pt x="7456" y="4734"/>
                </a:lnTo>
                <a:lnTo>
                  <a:pt x="7406" y="4913"/>
                </a:lnTo>
                <a:lnTo>
                  <a:pt x="7346" y="5090"/>
                </a:lnTo>
                <a:lnTo>
                  <a:pt x="7278" y="5262"/>
                </a:lnTo>
                <a:lnTo>
                  <a:pt x="7202" y="5430"/>
                </a:lnTo>
                <a:lnTo>
                  <a:pt x="7119" y="5593"/>
                </a:lnTo>
                <a:lnTo>
                  <a:pt x="7028" y="5752"/>
                </a:lnTo>
                <a:lnTo>
                  <a:pt x="6929" y="5905"/>
                </a:lnTo>
                <a:lnTo>
                  <a:pt x="6823" y="6054"/>
                </a:lnTo>
                <a:lnTo>
                  <a:pt x="6711" y="6197"/>
                </a:lnTo>
                <a:lnTo>
                  <a:pt x="6592" y="6334"/>
                </a:lnTo>
                <a:lnTo>
                  <a:pt x="6466" y="6466"/>
                </a:lnTo>
                <a:lnTo>
                  <a:pt x="6335" y="6591"/>
                </a:lnTo>
                <a:lnTo>
                  <a:pt x="6198" y="6710"/>
                </a:lnTo>
                <a:lnTo>
                  <a:pt x="6054" y="6822"/>
                </a:lnTo>
                <a:lnTo>
                  <a:pt x="5906" y="6928"/>
                </a:lnTo>
                <a:lnTo>
                  <a:pt x="5753" y="7027"/>
                </a:lnTo>
                <a:lnTo>
                  <a:pt x="5594" y="7118"/>
                </a:lnTo>
                <a:lnTo>
                  <a:pt x="5430" y="7201"/>
                </a:lnTo>
                <a:lnTo>
                  <a:pt x="5262" y="7277"/>
                </a:lnTo>
                <a:lnTo>
                  <a:pt x="5090" y="7345"/>
                </a:lnTo>
                <a:lnTo>
                  <a:pt x="4914" y="7405"/>
                </a:lnTo>
                <a:lnTo>
                  <a:pt x="4735" y="7456"/>
                </a:lnTo>
                <a:lnTo>
                  <a:pt x="4551" y="7498"/>
                </a:lnTo>
                <a:lnTo>
                  <a:pt x="4365" y="7532"/>
                </a:lnTo>
                <a:lnTo>
                  <a:pt x="4175" y="7555"/>
                </a:lnTo>
                <a:lnTo>
                  <a:pt x="3983" y="7570"/>
                </a:lnTo>
                <a:lnTo>
                  <a:pt x="3788" y="7575"/>
                </a:lnTo>
                <a:close/>
                <a:moveTo>
                  <a:pt x="5530" y="5744"/>
                </a:moveTo>
                <a:lnTo>
                  <a:pt x="5530" y="5777"/>
                </a:lnTo>
                <a:lnTo>
                  <a:pt x="5529" y="5806"/>
                </a:lnTo>
                <a:lnTo>
                  <a:pt x="5528" y="5835"/>
                </a:lnTo>
                <a:lnTo>
                  <a:pt x="5526" y="5862"/>
                </a:lnTo>
                <a:lnTo>
                  <a:pt x="5524" y="5887"/>
                </a:lnTo>
                <a:lnTo>
                  <a:pt x="5521" y="5909"/>
                </a:lnTo>
                <a:lnTo>
                  <a:pt x="5517" y="5930"/>
                </a:lnTo>
                <a:lnTo>
                  <a:pt x="5511" y="5950"/>
                </a:lnTo>
                <a:lnTo>
                  <a:pt x="5506" y="5969"/>
                </a:lnTo>
                <a:lnTo>
                  <a:pt x="5500" y="5987"/>
                </a:lnTo>
                <a:lnTo>
                  <a:pt x="5493" y="6003"/>
                </a:lnTo>
                <a:lnTo>
                  <a:pt x="5485" y="6018"/>
                </a:lnTo>
                <a:lnTo>
                  <a:pt x="5474" y="6033"/>
                </a:lnTo>
                <a:lnTo>
                  <a:pt x="5461" y="6051"/>
                </a:lnTo>
                <a:lnTo>
                  <a:pt x="5445" y="6069"/>
                </a:lnTo>
                <a:lnTo>
                  <a:pt x="5425" y="6090"/>
                </a:lnTo>
                <a:lnTo>
                  <a:pt x="5414" y="6101"/>
                </a:lnTo>
                <a:lnTo>
                  <a:pt x="5398" y="6113"/>
                </a:lnTo>
                <a:lnTo>
                  <a:pt x="5381" y="6128"/>
                </a:lnTo>
                <a:lnTo>
                  <a:pt x="5359" y="6143"/>
                </a:lnTo>
                <a:lnTo>
                  <a:pt x="5336" y="6160"/>
                </a:lnTo>
                <a:lnTo>
                  <a:pt x="5310" y="6177"/>
                </a:lnTo>
                <a:lnTo>
                  <a:pt x="5281" y="6197"/>
                </a:lnTo>
                <a:lnTo>
                  <a:pt x="5249" y="6217"/>
                </a:lnTo>
                <a:lnTo>
                  <a:pt x="5214" y="6239"/>
                </a:lnTo>
                <a:lnTo>
                  <a:pt x="5177" y="6261"/>
                </a:lnTo>
                <a:lnTo>
                  <a:pt x="5138" y="6282"/>
                </a:lnTo>
                <a:lnTo>
                  <a:pt x="5096" y="6304"/>
                </a:lnTo>
                <a:lnTo>
                  <a:pt x="5054" y="6325"/>
                </a:lnTo>
                <a:lnTo>
                  <a:pt x="5009" y="6346"/>
                </a:lnTo>
                <a:lnTo>
                  <a:pt x="4962" y="6367"/>
                </a:lnTo>
                <a:lnTo>
                  <a:pt x="4913" y="6387"/>
                </a:lnTo>
                <a:lnTo>
                  <a:pt x="4861" y="6408"/>
                </a:lnTo>
                <a:lnTo>
                  <a:pt x="4809" y="6427"/>
                </a:lnTo>
                <a:lnTo>
                  <a:pt x="4754" y="6445"/>
                </a:lnTo>
                <a:lnTo>
                  <a:pt x="4698" y="6463"/>
                </a:lnTo>
                <a:lnTo>
                  <a:pt x="4640" y="6480"/>
                </a:lnTo>
                <a:lnTo>
                  <a:pt x="4579" y="6496"/>
                </a:lnTo>
                <a:lnTo>
                  <a:pt x="4517" y="6511"/>
                </a:lnTo>
                <a:lnTo>
                  <a:pt x="4453" y="6525"/>
                </a:lnTo>
                <a:lnTo>
                  <a:pt x="4422" y="6533"/>
                </a:lnTo>
                <a:lnTo>
                  <a:pt x="4389" y="6539"/>
                </a:lnTo>
                <a:lnTo>
                  <a:pt x="4355" y="6545"/>
                </a:lnTo>
                <a:lnTo>
                  <a:pt x="4321" y="6551"/>
                </a:lnTo>
                <a:lnTo>
                  <a:pt x="4253" y="6560"/>
                </a:lnTo>
                <a:lnTo>
                  <a:pt x="4182" y="6569"/>
                </a:lnTo>
                <a:lnTo>
                  <a:pt x="4110" y="6575"/>
                </a:lnTo>
                <a:lnTo>
                  <a:pt x="4037" y="6580"/>
                </a:lnTo>
                <a:lnTo>
                  <a:pt x="3962" y="6582"/>
                </a:lnTo>
                <a:lnTo>
                  <a:pt x="3887" y="6583"/>
                </a:lnTo>
                <a:lnTo>
                  <a:pt x="3820" y="6582"/>
                </a:lnTo>
                <a:lnTo>
                  <a:pt x="3755" y="6580"/>
                </a:lnTo>
                <a:lnTo>
                  <a:pt x="3690" y="6577"/>
                </a:lnTo>
                <a:lnTo>
                  <a:pt x="3626" y="6572"/>
                </a:lnTo>
                <a:lnTo>
                  <a:pt x="3563" y="6566"/>
                </a:lnTo>
                <a:lnTo>
                  <a:pt x="3502" y="6558"/>
                </a:lnTo>
                <a:lnTo>
                  <a:pt x="3441" y="6549"/>
                </a:lnTo>
                <a:lnTo>
                  <a:pt x="3380" y="6539"/>
                </a:lnTo>
                <a:lnTo>
                  <a:pt x="3320" y="6527"/>
                </a:lnTo>
                <a:lnTo>
                  <a:pt x="3262" y="6514"/>
                </a:lnTo>
                <a:lnTo>
                  <a:pt x="3204" y="6500"/>
                </a:lnTo>
                <a:lnTo>
                  <a:pt x="3146" y="6483"/>
                </a:lnTo>
                <a:lnTo>
                  <a:pt x="3091" y="6467"/>
                </a:lnTo>
                <a:lnTo>
                  <a:pt x="3035" y="6447"/>
                </a:lnTo>
                <a:lnTo>
                  <a:pt x="2980" y="6428"/>
                </a:lnTo>
                <a:lnTo>
                  <a:pt x="2927" y="6406"/>
                </a:lnTo>
                <a:lnTo>
                  <a:pt x="2873" y="6383"/>
                </a:lnTo>
                <a:lnTo>
                  <a:pt x="2822" y="6360"/>
                </a:lnTo>
                <a:lnTo>
                  <a:pt x="2770" y="6334"/>
                </a:lnTo>
                <a:lnTo>
                  <a:pt x="2721" y="6307"/>
                </a:lnTo>
                <a:lnTo>
                  <a:pt x="2671" y="6279"/>
                </a:lnTo>
                <a:lnTo>
                  <a:pt x="2624" y="6249"/>
                </a:lnTo>
                <a:lnTo>
                  <a:pt x="2576" y="6220"/>
                </a:lnTo>
                <a:lnTo>
                  <a:pt x="2530" y="6187"/>
                </a:lnTo>
                <a:lnTo>
                  <a:pt x="2485" y="6154"/>
                </a:lnTo>
                <a:lnTo>
                  <a:pt x="2440" y="6120"/>
                </a:lnTo>
                <a:lnTo>
                  <a:pt x="2398" y="6084"/>
                </a:lnTo>
                <a:lnTo>
                  <a:pt x="2356" y="6045"/>
                </a:lnTo>
                <a:lnTo>
                  <a:pt x="2315" y="6007"/>
                </a:lnTo>
                <a:lnTo>
                  <a:pt x="2275" y="5967"/>
                </a:lnTo>
                <a:lnTo>
                  <a:pt x="2234" y="5926"/>
                </a:lnTo>
                <a:lnTo>
                  <a:pt x="2196" y="5884"/>
                </a:lnTo>
                <a:lnTo>
                  <a:pt x="2159" y="5839"/>
                </a:lnTo>
                <a:lnTo>
                  <a:pt x="2123" y="5794"/>
                </a:lnTo>
                <a:lnTo>
                  <a:pt x="2089" y="5748"/>
                </a:lnTo>
                <a:lnTo>
                  <a:pt x="2055" y="5700"/>
                </a:lnTo>
                <a:lnTo>
                  <a:pt x="2022" y="5651"/>
                </a:lnTo>
                <a:lnTo>
                  <a:pt x="1990" y="5600"/>
                </a:lnTo>
                <a:lnTo>
                  <a:pt x="1959" y="5550"/>
                </a:lnTo>
                <a:lnTo>
                  <a:pt x="1931" y="5496"/>
                </a:lnTo>
                <a:lnTo>
                  <a:pt x="1902" y="5443"/>
                </a:lnTo>
                <a:lnTo>
                  <a:pt x="1875" y="5387"/>
                </a:lnTo>
                <a:lnTo>
                  <a:pt x="1848" y="5331"/>
                </a:lnTo>
                <a:lnTo>
                  <a:pt x="1823" y="5273"/>
                </a:lnTo>
                <a:lnTo>
                  <a:pt x="1799" y="5214"/>
                </a:lnTo>
                <a:lnTo>
                  <a:pt x="1776" y="5153"/>
                </a:lnTo>
                <a:lnTo>
                  <a:pt x="1754" y="5092"/>
                </a:lnTo>
                <a:lnTo>
                  <a:pt x="1733" y="5029"/>
                </a:lnTo>
                <a:lnTo>
                  <a:pt x="1713" y="4965"/>
                </a:lnTo>
                <a:lnTo>
                  <a:pt x="1695" y="4900"/>
                </a:lnTo>
                <a:lnTo>
                  <a:pt x="1678" y="4833"/>
                </a:lnTo>
                <a:lnTo>
                  <a:pt x="1662" y="4765"/>
                </a:lnTo>
                <a:lnTo>
                  <a:pt x="1647" y="4696"/>
                </a:lnTo>
                <a:lnTo>
                  <a:pt x="1634" y="4626"/>
                </a:lnTo>
                <a:lnTo>
                  <a:pt x="1623" y="4555"/>
                </a:lnTo>
                <a:lnTo>
                  <a:pt x="1611" y="4483"/>
                </a:lnTo>
                <a:lnTo>
                  <a:pt x="1602" y="4409"/>
                </a:lnTo>
                <a:lnTo>
                  <a:pt x="1594" y="4334"/>
                </a:lnTo>
                <a:lnTo>
                  <a:pt x="1586" y="4257"/>
                </a:lnTo>
                <a:lnTo>
                  <a:pt x="1580" y="4180"/>
                </a:lnTo>
                <a:lnTo>
                  <a:pt x="1576" y="4102"/>
                </a:lnTo>
                <a:lnTo>
                  <a:pt x="1573" y="4023"/>
                </a:lnTo>
                <a:lnTo>
                  <a:pt x="1571" y="3941"/>
                </a:lnTo>
                <a:lnTo>
                  <a:pt x="1570" y="3859"/>
                </a:lnTo>
                <a:lnTo>
                  <a:pt x="1571" y="3774"/>
                </a:lnTo>
                <a:lnTo>
                  <a:pt x="1573" y="3692"/>
                </a:lnTo>
                <a:lnTo>
                  <a:pt x="1576" y="3610"/>
                </a:lnTo>
                <a:lnTo>
                  <a:pt x="1581" y="3529"/>
                </a:lnTo>
                <a:lnTo>
                  <a:pt x="1587" y="3450"/>
                </a:lnTo>
                <a:lnTo>
                  <a:pt x="1596" y="3371"/>
                </a:lnTo>
                <a:lnTo>
                  <a:pt x="1604" y="3293"/>
                </a:lnTo>
                <a:lnTo>
                  <a:pt x="1614" y="3217"/>
                </a:lnTo>
                <a:lnTo>
                  <a:pt x="1627" y="3142"/>
                </a:lnTo>
                <a:lnTo>
                  <a:pt x="1639" y="3069"/>
                </a:lnTo>
                <a:lnTo>
                  <a:pt x="1653" y="2996"/>
                </a:lnTo>
                <a:lnTo>
                  <a:pt x="1670" y="2924"/>
                </a:lnTo>
                <a:lnTo>
                  <a:pt x="1686" y="2853"/>
                </a:lnTo>
                <a:lnTo>
                  <a:pt x="1705" y="2783"/>
                </a:lnTo>
                <a:lnTo>
                  <a:pt x="1725" y="2715"/>
                </a:lnTo>
                <a:lnTo>
                  <a:pt x="1746" y="2649"/>
                </a:lnTo>
                <a:lnTo>
                  <a:pt x="1769" y="2583"/>
                </a:lnTo>
                <a:lnTo>
                  <a:pt x="1791" y="2518"/>
                </a:lnTo>
                <a:lnTo>
                  <a:pt x="1816" y="2455"/>
                </a:lnTo>
                <a:lnTo>
                  <a:pt x="1842" y="2393"/>
                </a:lnTo>
                <a:lnTo>
                  <a:pt x="1869" y="2332"/>
                </a:lnTo>
                <a:lnTo>
                  <a:pt x="1898" y="2274"/>
                </a:lnTo>
                <a:lnTo>
                  <a:pt x="1926" y="2215"/>
                </a:lnTo>
                <a:lnTo>
                  <a:pt x="1956" y="2158"/>
                </a:lnTo>
                <a:lnTo>
                  <a:pt x="1987" y="2103"/>
                </a:lnTo>
                <a:lnTo>
                  <a:pt x="2020" y="2048"/>
                </a:lnTo>
                <a:lnTo>
                  <a:pt x="2053" y="1995"/>
                </a:lnTo>
                <a:lnTo>
                  <a:pt x="2088" y="1944"/>
                </a:lnTo>
                <a:lnTo>
                  <a:pt x="2123" y="1892"/>
                </a:lnTo>
                <a:lnTo>
                  <a:pt x="2160" y="1844"/>
                </a:lnTo>
                <a:lnTo>
                  <a:pt x="2198" y="1796"/>
                </a:lnTo>
                <a:lnTo>
                  <a:pt x="2237" y="1749"/>
                </a:lnTo>
                <a:lnTo>
                  <a:pt x="2277" y="1703"/>
                </a:lnTo>
                <a:lnTo>
                  <a:pt x="2318" y="1660"/>
                </a:lnTo>
                <a:lnTo>
                  <a:pt x="2360" y="1616"/>
                </a:lnTo>
                <a:lnTo>
                  <a:pt x="2403" y="1575"/>
                </a:lnTo>
                <a:lnTo>
                  <a:pt x="2447" y="1535"/>
                </a:lnTo>
                <a:lnTo>
                  <a:pt x="2492" y="1497"/>
                </a:lnTo>
                <a:lnTo>
                  <a:pt x="2538" y="1460"/>
                </a:lnTo>
                <a:lnTo>
                  <a:pt x="2585" y="1424"/>
                </a:lnTo>
                <a:lnTo>
                  <a:pt x="2632" y="1390"/>
                </a:lnTo>
                <a:lnTo>
                  <a:pt x="2682" y="1356"/>
                </a:lnTo>
                <a:lnTo>
                  <a:pt x="2731" y="1325"/>
                </a:lnTo>
                <a:lnTo>
                  <a:pt x="2781" y="1294"/>
                </a:lnTo>
                <a:lnTo>
                  <a:pt x="2833" y="1265"/>
                </a:lnTo>
                <a:lnTo>
                  <a:pt x="2886" y="1237"/>
                </a:lnTo>
                <a:lnTo>
                  <a:pt x="2939" y="1212"/>
                </a:lnTo>
                <a:lnTo>
                  <a:pt x="2994" y="1186"/>
                </a:lnTo>
                <a:lnTo>
                  <a:pt x="3049" y="1162"/>
                </a:lnTo>
                <a:lnTo>
                  <a:pt x="3106" y="1141"/>
                </a:lnTo>
                <a:lnTo>
                  <a:pt x="3163" y="1120"/>
                </a:lnTo>
                <a:lnTo>
                  <a:pt x="3220" y="1101"/>
                </a:lnTo>
                <a:lnTo>
                  <a:pt x="3279" y="1084"/>
                </a:lnTo>
                <a:lnTo>
                  <a:pt x="3338" y="1067"/>
                </a:lnTo>
                <a:lnTo>
                  <a:pt x="3398" y="1053"/>
                </a:lnTo>
                <a:lnTo>
                  <a:pt x="3458" y="1041"/>
                </a:lnTo>
                <a:lnTo>
                  <a:pt x="3520" y="1029"/>
                </a:lnTo>
                <a:lnTo>
                  <a:pt x="3582" y="1019"/>
                </a:lnTo>
                <a:lnTo>
                  <a:pt x="3645" y="1011"/>
                </a:lnTo>
                <a:lnTo>
                  <a:pt x="3709" y="1004"/>
                </a:lnTo>
                <a:lnTo>
                  <a:pt x="3773" y="998"/>
                </a:lnTo>
                <a:lnTo>
                  <a:pt x="3837" y="995"/>
                </a:lnTo>
                <a:lnTo>
                  <a:pt x="3903" y="992"/>
                </a:lnTo>
                <a:lnTo>
                  <a:pt x="3970" y="992"/>
                </a:lnTo>
                <a:lnTo>
                  <a:pt x="4029" y="992"/>
                </a:lnTo>
                <a:lnTo>
                  <a:pt x="4088" y="994"/>
                </a:lnTo>
                <a:lnTo>
                  <a:pt x="4145" y="998"/>
                </a:lnTo>
                <a:lnTo>
                  <a:pt x="4203" y="1003"/>
                </a:lnTo>
                <a:lnTo>
                  <a:pt x="4261" y="1009"/>
                </a:lnTo>
                <a:lnTo>
                  <a:pt x="4318" y="1017"/>
                </a:lnTo>
                <a:lnTo>
                  <a:pt x="4374" y="1026"/>
                </a:lnTo>
                <a:lnTo>
                  <a:pt x="4431" y="1037"/>
                </a:lnTo>
                <a:lnTo>
                  <a:pt x="4485" y="1048"/>
                </a:lnTo>
                <a:lnTo>
                  <a:pt x="4540" y="1059"/>
                </a:lnTo>
                <a:lnTo>
                  <a:pt x="4594" y="1073"/>
                </a:lnTo>
                <a:lnTo>
                  <a:pt x="4645" y="1086"/>
                </a:lnTo>
                <a:lnTo>
                  <a:pt x="4697" y="1100"/>
                </a:lnTo>
                <a:lnTo>
                  <a:pt x="4747" y="1115"/>
                </a:lnTo>
                <a:lnTo>
                  <a:pt x="4796" y="1131"/>
                </a:lnTo>
                <a:lnTo>
                  <a:pt x="4844" y="1148"/>
                </a:lnTo>
                <a:lnTo>
                  <a:pt x="4890" y="1165"/>
                </a:lnTo>
                <a:lnTo>
                  <a:pt x="4936" y="1183"/>
                </a:lnTo>
                <a:lnTo>
                  <a:pt x="4980" y="1201"/>
                </a:lnTo>
                <a:lnTo>
                  <a:pt x="5023" y="1221"/>
                </a:lnTo>
                <a:lnTo>
                  <a:pt x="5064" y="1241"/>
                </a:lnTo>
                <a:lnTo>
                  <a:pt x="5105" y="1261"/>
                </a:lnTo>
                <a:lnTo>
                  <a:pt x="5144" y="1283"/>
                </a:lnTo>
                <a:lnTo>
                  <a:pt x="5181" y="1304"/>
                </a:lnTo>
                <a:lnTo>
                  <a:pt x="5216" y="1326"/>
                </a:lnTo>
                <a:lnTo>
                  <a:pt x="5249" y="1347"/>
                </a:lnTo>
                <a:lnTo>
                  <a:pt x="5279" y="1366"/>
                </a:lnTo>
                <a:lnTo>
                  <a:pt x="5305" y="1385"/>
                </a:lnTo>
                <a:lnTo>
                  <a:pt x="5330" y="1402"/>
                </a:lnTo>
                <a:lnTo>
                  <a:pt x="5351" y="1420"/>
                </a:lnTo>
                <a:lnTo>
                  <a:pt x="5369" y="1435"/>
                </a:lnTo>
                <a:lnTo>
                  <a:pt x="5385" y="1450"/>
                </a:lnTo>
                <a:lnTo>
                  <a:pt x="5411" y="1476"/>
                </a:lnTo>
                <a:lnTo>
                  <a:pt x="5432" y="1499"/>
                </a:lnTo>
                <a:lnTo>
                  <a:pt x="5440" y="1509"/>
                </a:lnTo>
                <a:lnTo>
                  <a:pt x="5448" y="1520"/>
                </a:lnTo>
                <a:lnTo>
                  <a:pt x="5454" y="1528"/>
                </a:lnTo>
                <a:lnTo>
                  <a:pt x="5459" y="1536"/>
                </a:lnTo>
                <a:lnTo>
                  <a:pt x="5467" y="1552"/>
                </a:lnTo>
                <a:lnTo>
                  <a:pt x="5474" y="1568"/>
                </a:lnTo>
                <a:lnTo>
                  <a:pt x="5481" y="1587"/>
                </a:lnTo>
                <a:lnTo>
                  <a:pt x="5486" y="1605"/>
                </a:lnTo>
                <a:lnTo>
                  <a:pt x="5491" y="1627"/>
                </a:lnTo>
                <a:lnTo>
                  <a:pt x="5496" y="1649"/>
                </a:lnTo>
                <a:lnTo>
                  <a:pt x="5499" y="1674"/>
                </a:lnTo>
                <a:lnTo>
                  <a:pt x="5503" y="1700"/>
                </a:lnTo>
                <a:lnTo>
                  <a:pt x="5506" y="1729"/>
                </a:lnTo>
                <a:lnTo>
                  <a:pt x="5508" y="1761"/>
                </a:lnTo>
                <a:lnTo>
                  <a:pt x="5509" y="1795"/>
                </a:lnTo>
                <a:lnTo>
                  <a:pt x="5510" y="1831"/>
                </a:lnTo>
                <a:lnTo>
                  <a:pt x="5509" y="1872"/>
                </a:lnTo>
                <a:lnTo>
                  <a:pt x="5508" y="1909"/>
                </a:lnTo>
                <a:lnTo>
                  <a:pt x="5505" y="1943"/>
                </a:lnTo>
                <a:lnTo>
                  <a:pt x="5501" y="1975"/>
                </a:lnTo>
                <a:lnTo>
                  <a:pt x="5497" y="2003"/>
                </a:lnTo>
                <a:lnTo>
                  <a:pt x="5491" y="2028"/>
                </a:lnTo>
                <a:lnTo>
                  <a:pt x="5484" y="2052"/>
                </a:lnTo>
                <a:lnTo>
                  <a:pt x="5475" y="2074"/>
                </a:lnTo>
                <a:lnTo>
                  <a:pt x="5467" y="2092"/>
                </a:lnTo>
                <a:lnTo>
                  <a:pt x="5457" y="2109"/>
                </a:lnTo>
                <a:lnTo>
                  <a:pt x="5452" y="2116"/>
                </a:lnTo>
                <a:lnTo>
                  <a:pt x="5447" y="2122"/>
                </a:lnTo>
                <a:lnTo>
                  <a:pt x="5441" y="2128"/>
                </a:lnTo>
                <a:lnTo>
                  <a:pt x="5435" y="2134"/>
                </a:lnTo>
                <a:lnTo>
                  <a:pt x="5429" y="2138"/>
                </a:lnTo>
                <a:lnTo>
                  <a:pt x="5423" y="2141"/>
                </a:lnTo>
                <a:lnTo>
                  <a:pt x="5417" y="2144"/>
                </a:lnTo>
                <a:lnTo>
                  <a:pt x="5410" y="2147"/>
                </a:lnTo>
                <a:lnTo>
                  <a:pt x="5402" y="2149"/>
                </a:lnTo>
                <a:lnTo>
                  <a:pt x="5395" y="2151"/>
                </a:lnTo>
                <a:lnTo>
                  <a:pt x="5387" y="2152"/>
                </a:lnTo>
                <a:lnTo>
                  <a:pt x="5380" y="2152"/>
                </a:lnTo>
                <a:lnTo>
                  <a:pt x="5371" y="2152"/>
                </a:lnTo>
                <a:lnTo>
                  <a:pt x="5363" y="2151"/>
                </a:lnTo>
                <a:lnTo>
                  <a:pt x="5355" y="2149"/>
                </a:lnTo>
                <a:lnTo>
                  <a:pt x="5347" y="2147"/>
                </a:lnTo>
                <a:lnTo>
                  <a:pt x="5328" y="2141"/>
                </a:lnTo>
                <a:lnTo>
                  <a:pt x="5308" y="2131"/>
                </a:lnTo>
                <a:lnTo>
                  <a:pt x="5287" y="2120"/>
                </a:lnTo>
                <a:lnTo>
                  <a:pt x="5263" y="2106"/>
                </a:lnTo>
                <a:lnTo>
                  <a:pt x="5240" y="2089"/>
                </a:lnTo>
                <a:lnTo>
                  <a:pt x="5214" y="2070"/>
                </a:lnTo>
                <a:lnTo>
                  <a:pt x="5187" y="2049"/>
                </a:lnTo>
                <a:lnTo>
                  <a:pt x="5158" y="2027"/>
                </a:lnTo>
                <a:lnTo>
                  <a:pt x="5127" y="2006"/>
                </a:lnTo>
                <a:lnTo>
                  <a:pt x="5094" y="1983"/>
                </a:lnTo>
                <a:lnTo>
                  <a:pt x="5059" y="1960"/>
                </a:lnTo>
                <a:lnTo>
                  <a:pt x="5022" y="1937"/>
                </a:lnTo>
                <a:lnTo>
                  <a:pt x="4983" y="1913"/>
                </a:lnTo>
                <a:lnTo>
                  <a:pt x="4942" y="1888"/>
                </a:lnTo>
                <a:lnTo>
                  <a:pt x="4900" y="1864"/>
                </a:lnTo>
                <a:lnTo>
                  <a:pt x="4854" y="1840"/>
                </a:lnTo>
                <a:lnTo>
                  <a:pt x="4807" y="1816"/>
                </a:lnTo>
                <a:lnTo>
                  <a:pt x="4757" y="1794"/>
                </a:lnTo>
                <a:lnTo>
                  <a:pt x="4706" y="1771"/>
                </a:lnTo>
                <a:lnTo>
                  <a:pt x="4652" y="1749"/>
                </a:lnTo>
                <a:lnTo>
                  <a:pt x="4596" y="1728"/>
                </a:lnTo>
                <a:lnTo>
                  <a:pt x="4537" y="1707"/>
                </a:lnTo>
                <a:lnTo>
                  <a:pt x="4507" y="1697"/>
                </a:lnTo>
                <a:lnTo>
                  <a:pt x="4476" y="1688"/>
                </a:lnTo>
                <a:lnTo>
                  <a:pt x="4445" y="1679"/>
                </a:lnTo>
                <a:lnTo>
                  <a:pt x="4412" y="1671"/>
                </a:lnTo>
                <a:lnTo>
                  <a:pt x="4379" y="1664"/>
                </a:lnTo>
                <a:lnTo>
                  <a:pt x="4345" y="1658"/>
                </a:lnTo>
                <a:lnTo>
                  <a:pt x="4311" y="1651"/>
                </a:lnTo>
                <a:lnTo>
                  <a:pt x="4275" y="1645"/>
                </a:lnTo>
                <a:lnTo>
                  <a:pt x="4239" y="1641"/>
                </a:lnTo>
                <a:lnTo>
                  <a:pt x="4203" y="1637"/>
                </a:lnTo>
                <a:lnTo>
                  <a:pt x="4165" y="1633"/>
                </a:lnTo>
                <a:lnTo>
                  <a:pt x="4127" y="1630"/>
                </a:lnTo>
                <a:lnTo>
                  <a:pt x="4088" y="1628"/>
                </a:lnTo>
                <a:lnTo>
                  <a:pt x="4048" y="1627"/>
                </a:lnTo>
                <a:lnTo>
                  <a:pt x="4007" y="1626"/>
                </a:lnTo>
                <a:lnTo>
                  <a:pt x="3966" y="1625"/>
                </a:lnTo>
                <a:lnTo>
                  <a:pt x="3921" y="1626"/>
                </a:lnTo>
                <a:lnTo>
                  <a:pt x="3876" y="1628"/>
                </a:lnTo>
                <a:lnTo>
                  <a:pt x="3832" y="1630"/>
                </a:lnTo>
                <a:lnTo>
                  <a:pt x="3788" y="1634"/>
                </a:lnTo>
                <a:lnTo>
                  <a:pt x="3746" y="1639"/>
                </a:lnTo>
                <a:lnTo>
                  <a:pt x="3702" y="1645"/>
                </a:lnTo>
                <a:lnTo>
                  <a:pt x="3661" y="1653"/>
                </a:lnTo>
                <a:lnTo>
                  <a:pt x="3619" y="1661"/>
                </a:lnTo>
                <a:lnTo>
                  <a:pt x="3579" y="1671"/>
                </a:lnTo>
                <a:lnTo>
                  <a:pt x="3538" y="1681"/>
                </a:lnTo>
                <a:lnTo>
                  <a:pt x="3498" y="1694"/>
                </a:lnTo>
                <a:lnTo>
                  <a:pt x="3458" y="1706"/>
                </a:lnTo>
                <a:lnTo>
                  <a:pt x="3420" y="1720"/>
                </a:lnTo>
                <a:lnTo>
                  <a:pt x="3381" y="1736"/>
                </a:lnTo>
                <a:lnTo>
                  <a:pt x="3344" y="1752"/>
                </a:lnTo>
                <a:lnTo>
                  <a:pt x="3307" y="1771"/>
                </a:lnTo>
                <a:lnTo>
                  <a:pt x="3270" y="1789"/>
                </a:lnTo>
                <a:lnTo>
                  <a:pt x="3234" y="1809"/>
                </a:lnTo>
                <a:lnTo>
                  <a:pt x="3198" y="1830"/>
                </a:lnTo>
                <a:lnTo>
                  <a:pt x="3163" y="1851"/>
                </a:lnTo>
                <a:lnTo>
                  <a:pt x="3129" y="1874"/>
                </a:lnTo>
                <a:lnTo>
                  <a:pt x="3096" y="1899"/>
                </a:lnTo>
                <a:lnTo>
                  <a:pt x="3063" y="1923"/>
                </a:lnTo>
                <a:lnTo>
                  <a:pt x="3030" y="1950"/>
                </a:lnTo>
                <a:lnTo>
                  <a:pt x="2999" y="1977"/>
                </a:lnTo>
                <a:lnTo>
                  <a:pt x="2968" y="2006"/>
                </a:lnTo>
                <a:lnTo>
                  <a:pt x="2938" y="2035"/>
                </a:lnTo>
                <a:lnTo>
                  <a:pt x="2908" y="2066"/>
                </a:lnTo>
                <a:lnTo>
                  <a:pt x="2880" y="2096"/>
                </a:lnTo>
                <a:lnTo>
                  <a:pt x="2853" y="2129"/>
                </a:lnTo>
                <a:lnTo>
                  <a:pt x="2825" y="2163"/>
                </a:lnTo>
                <a:lnTo>
                  <a:pt x="2798" y="2198"/>
                </a:lnTo>
                <a:lnTo>
                  <a:pt x="2772" y="2233"/>
                </a:lnTo>
                <a:lnTo>
                  <a:pt x="2746" y="2271"/>
                </a:lnTo>
                <a:lnTo>
                  <a:pt x="2723" y="2309"/>
                </a:lnTo>
                <a:lnTo>
                  <a:pt x="2698" y="2347"/>
                </a:lnTo>
                <a:lnTo>
                  <a:pt x="2675" y="2387"/>
                </a:lnTo>
                <a:lnTo>
                  <a:pt x="2653" y="2428"/>
                </a:lnTo>
                <a:lnTo>
                  <a:pt x="2631" y="2469"/>
                </a:lnTo>
                <a:lnTo>
                  <a:pt x="2610" y="2512"/>
                </a:lnTo>
                <a:lnTo>
                  <a:pt x="2591" y="2556"/>
                </a:lnTo>
                <a:lnTo>
                  <a:pt x="2571" y="2600"/>
                </a:lnTo>
                <a:lnTo>
                  <a:pt x="2553" y="2645"/>
                </a:lnTo>
                <a:lnTo>
                  <a:pt x="2535" y="2692"/>
                </a:lnTo>
                <a:lnTo>
                  <a:pt x="2518" y="2739"/>
                </a:lnTo>
                <a:lnTo>
                  <a:pt x="2501" y="2788"/>
                </a:lnTo>
                <a:lnTo>
                  <a:pt x="2486" y="2837"/>
                </a:lnTo>
                <a:lnTo>
                  <a:pt x="2471" y="2887"/>
                </a:lnTo>
                <a:lnTo>
                  <a:pt x="2457" y="2939"/>
                </a:lnTo>
                <a:lnTo>
                  <a:pt x="2445" y="2990"/>
                </a:lnTo>
                <a:lnTo>
                  <a:pt x="2432" y="3044"/>
                </a:lnTo>
                <a:lnTo>
                  <a:pt x="2421" y="3098"/>
                </a:lnTo>
                <a:lnTo>
                  <a:pt x="2410" y="3153"/>
                </a:lnTo>
                <a:lnTo>
                  <a:pt x="2400" y="3209"/>
                </a:lnTo>
                <a:lnTo>
                  <a:pt x="2392" y="3265"/>
                </a:lnTo>
                <a:lnTo>
                  <a:pt x="2384" y="3323"/>
                </a:lnTo>
                <a:lnTo>
                  <a:pt x="2378" y="3382"/>
                </a:lnTo>
                <a:lnTo>
                  <a:pt x="2371" y="3442"/>
                </a:lnTo>
                <a:lnTo>
                  <a:pt x="2366" y="3501"/>
                </a:lnTo>
                <a:lnTo>
                  <a:pt x="2362" y="3563"/>
                </a:lnTo>
                <a:lnTo>
                  <a:pt x="2359" y="3625"/>
                </a:lnTo>
                <a:lnTo>
                  <a:pt x="2357" y="3688"/>
                </a:lnTo>
                <a:lnTo>
                  <a:pt x="2355" y="3753"/>
                </a:lnTo>
                <a:lnTo>
                  <a:pt x="2355" y="3818"/>
                </a:lnTo>
                <a:lnTo>
                  <a:pt x="2355" y="3881"/>
                </a:lnTo>
                <a:lnTo>
                  <a:pt x="2357" y="3944"/>
                </a:lnTo>
                <a:lnTo>
                  <a:pt x="2359" y="4007"/>
                </a:lnTo>
                <a:lnTo>
                  <a:pt x="2362" y="4069"/>
                </a:lnTo>
                <a:lnTo>
                  <a:pt x="2366" y="4130"/>
                </a:lnTo>
                <a:lnTo>
                  <a:pt x="2370" y="4189"/>
                </a:lnTo>
                <a:lnTo>
                  <a:pt x="2377" y="4248"/>
                </a:lnTo>
                <a:lnTo>
                  <a:pt x="2383" y="4306"/>
                </a:lnTo>
                <a:lnTo>
                  <a:pt x="2390" y="4362"/>
                </a:lnTo>
                <a:lnTo>
                  <a:pt x="2399" y="4418"/>
                </a:lnTo>
                <a:lnTo>
                  <a:pt x="2408" y="4474"/>
                </a:lnTo>
                <a:lnTo>
                  <a:pt x="2418" y="4527"/>
                </a:lnTo>
                <a:lnTo>
                  <a:pt x="2429" y="4581"/>
                </a:lnTo>
                <a:lnTo>
                  <a:pt x="2440" y="4632"/>
                </a:lnTo>
                <a:lnTo>
                  <a:pt x="2454" y="4684"/>
                </a:lnTo>
                <a:lnTo>
                  <a:pt x="2467" y="4734"/>
                </a:lnTo>
                <a:lnTo>
                  <a:pt x="2482" y="4784"/>
                </a:lnTo>
                <a:lnTo>
                  <a:pt x="2496" y="4831"/>
                </a:lnTo>
                <a:lnTo>
                  <a:pt x="2513" y="4878"/>
                </a:lnTo>
                <a:lnTo>
                  <a:pt x="2529" y="4925"/>
                </a:lnTo>
                <a:lnTo>
                  <a:pt x="2546" y="4970"/>
                </a:lnTo>
                <a:lnTo>
                  <a:pt x="2564" y="5014"/>
                </a:lnTo>
                <a:lnTo>
                  <a:pt x="2583" y="5058"/>
                </a:lnTo>
                <a:lnTo>
                  <a:pt x="2602" y="5100"/>
                </a:lnTo>
                <a:lnTo>
                  <a:pt x="2623" y="5141"/>
                </a:lnTo>
                <a:lnTo>
                  <a:pt x="2644" y="5181"/>
                </a:lnTo>
                <a:lnTo>
                  <a:pt x="2666" y="5220"/>
                </a:lnTo>
                <a:lnTo>
                  <a:pt x="2689" y="5259"/>
                </a:lnTo>
                <a:lnTo>
                  <a:pt x="2712" y="5296"/>
                </a:lnTo>
                <a:lnTo>
                  <a:pt x="2736" y="5332"/>
                </a:lnTo>
                <a:lnTo>
                  <a:pt x="2761" y="5367"/>
                </a:lnTo>
                <a:lnTo>
                  <a:pt x="2787" y="5401"/>
                </a:lnTo>
                <a:lnTo>
                  <a:pt x="2813" y="5434"/>
                </a:lnTo>
                <a:lnTo>
                  <a:pt x="2840" y="5466"/>
                </a:lnTo>
                <a:lnTo>
                  <a:pt x="2869" y="5496"/>
                </a:lnTo>
                <a:lnTo>
                  <a:pt x="2898" y="5526"/>
                </a:lnTo>
                <a:lnTo>
                  <a:pt x="2927" y="5555"/>
                </a:lnTo>
                <a:lnTo>
                  <a:pt x="2958" y="5583"/>
                </a:lnTo>
                <a:lnTo>
                  <a:pt x="2989" y="5610"/>
                </a:lnTo>
                <a:lnTo>
                  <a:pt x="3019" y="5636"/>
                </a:lnTo>
                <a:lnTo>
                  <a:pt x="3052" y="5660"/>
                </a:lnTo>
                <a:lnTo>
                  <a:pt x="3085" y="5684"/>
                </a:lnTo>
                <a:lnTo>
                  <a:pt x="3119" y="5707"/>
                </a:lnTo>
                <a:lnTo>
                  <a:pt x="3153" y="5728"/>
                </a:lnTo>
                <a:lnTo>
                  <a:pt x="3189" y="5749"/>
                </a:lnTo>
                <a:lnTo>
                  <a:pt x="3225" y="5768"/>
                </a:lnTo>
                <a:lnTo>
                  <a:pt x="3262" y="5787"/>
                </a:lnTo>
                <a:lnTo>
                  <a:pt x="3300" y="5804"/>
                </a:lnTo>
                <a:lnTo>
                  <a:pt x="3338" y="5821"/>
                </a:lnTo>
                <a:lnTo>
                  <a:pt x="3377" y="5837"/>
                </a:lnTo>
                <a:lnTo>
                  <a:pt x="3416" y="5852"/>
                </a:lnTo>
                <a:lnTo>
                  <a:pt x="3456" y="5865"/>
                </a:lnTo>
                <a:lnTo>
                  <a:pt x="3497" y="5878"/>
                </a:lnTo>
                <a:lnTo>
                  <a:pt x="3539" y="5889"/>
                </a:lnTo>
                <a:lnTo>
                  <a:pt x="3581" y="5899"/>
                </a:lnTo>
                <a:lnTo>
                  <a:pt x="3623" y="5908"/>
                </a:lnTo>
                <a:lnTo>
                  <a:pt x="3666" y="5917"/>
                </a:lnTo>
                <a:lnTo>
                  <a:pt x="3711" y="5923"/>
                </a:lnTo>
                <a:lnTo>
                  <a:pt x="3755" y="5929"/>
                </a:lnTo>
                <a:lnTo>
                  <a:pt x="3800" y="5934"/>
                </a:lnTo>
                <a:lnTo>
                  <a:pt x="3846" y="5938"/>
                </a:lnTo>
                <a:lnTo>
                  <a:pt x="3892" y="5940"/>
                </a:lnTo>
                <a:lnTo>
                  <a:pt x="3939" y="5942"/>
                </a:lnTo>
                <a:lnTo>
                  <a:pt x="3987" y="5942"/>
                </a:lnTo>
                <a:lnTo>
                  <a:pt x="4028" y="5942"/>
                </a:lnTo>
                <a:lnTo>
                  <a:pt x="4067" y="5941"/>
                </a:lnTo>
                <a:lnTo>
                  <a:pt x="4106" y="5940"/>
                </a:lnTo>
                <a:lnTo>
                  <a:pt x="4144" y="5937"/>
                </a:lnTo>
                <a:lnTo>
                  <a:pt x="4183" y="5935"/>
                </a:lnTo>
                <a:lnTo>
                  <a:pt x="4220" y="5931"/>
                </a:lnTo>
                <a:lnTo>
                  <a:pt x="4256" y="5927"/>
                </a:lnTo>
                <a:lnTo>
                  <a:pt x="4292" y="5923"/>
                </a:lnTo>
                <a:lnTo>
                  <a:pt x="4327" y="5917"/>
                </a:lnTo>
                <a:lnTo>
                  <a:pt x="4361" y="5912"/>
                </a:lnTo>
                <a:lnTo>
                  <a:pt x="4395" y="5904"/>
                </a:lnTo>
                <a:lnTo>
                  <a:pt x="4428" y="5897"/>
                </a:lnTo>
                <a:lnTo>
                  <a:pt x="4461" y="5889"/>
                </a:lnTo>
                <a:lnTo>
                  <a:pt x="4493" y="5881"/>
                </a:lnTo>
                <a:lnTo>
                  <a:pt x="4524" y="5871"/>
                </a:lnTo>
                <a:lnTo>
                  <a:pt x="4554" y="5862"/>
                </a:lnTo>
                <a:lnTo>
                  <a:pt x="4614" y="5842"/>
                </a:lnTo>
                <a:lnTo>
                  <a:pt x="4671" y="5821"/>
                </a:lnTo>
                <a:lnTo>
                  <a:pt x="4726" y="5799"/>
                </a:lnTo>
                <a:lnTo>
                  <a:pt x="4779" y="5777"/>
                </a:lnTo>
                <a:lnTo>
                  <a:pt x="4830" y="5754"/>
                </a:lnTo>
                <a:lnTo>
                  <a:pt x="4878" y="5731"/>
                </a:lnTo>
                <a:lnTo>
                  <a:pt x="4924" y="5707"/>
                </a:lnTo>
                <a:lnTo>
                  <a:pt x="4968" y="5682"/>
                </a:lnTo>
                <a:lnTo>
                  <a:pt x="5010" y="5658"/>
                </a:lnTo>
                <a:lnTo>
                  <a:pt x="5049" y="5633"/>
                </a:lnTo>
                <a:lnTo>
                  <a:pt x="5087" y="5611"/>
                </a:lnTo>
                <a:lnTo>
                  <a:pt x="5123" y="5588"/>
                </a:lnTo>
                <a:lnTo>
                  <a:pt x="5157" y="5567"/>
                </a:lnTo>
                <a:lnTo>
                  <a:pt x="5189" y="5545"/>
                </a:lnTo>
                <a:lnTo>
                  <a:pt x="5220" y="5524"/>
                </a:lnTo>
                <a:lnTo>
                  <a:pt x="5249" y="5504"/>
                </a:lnTo>
                <a:lnTo>
                  <a:pt x="5276" y="5485"/>
                </a:lnTo>
                <a:lnTo>
                  <a:pt x="5300" y="5469"/>
                </a:lnTo>
                <a:lnTo>
                  <a:pt x="5324" y="5455"/>
                </a:lnTo>
                <a:lnTo>
                  <a:pt x="5347" y="5444"/>
                </a:lnTo>
                <a:lnTo>
                  <a:pt x="5367" y="5435"/>
                </a:lnTo>
                <a:lnTo>
                  <a:pt x="5387" y="5428"/>
                </a:lnTo>
                <a:lnTo>
                  <a:pt x="5396" y="5426"/>
                </a:lnTo>
                <a:lnTo>
                  <a:pt x="5404" y="5424"/>
                </a:lnTo>
                <a:lnTo>
                  <a:pt x="5413" y="5423"/>
                </a:lnTo>
                <a:lnTo>
                  <a:pt x="5421" y="5423"/>
                </a:lnTo>
                <a:lnTo>
                  <a:pt x="5435" y="5424"/>
                </a:lnTo>
                <a:lnTo>
                  <a:pt x="5449" y="5426"/>
                </a:lnTo>
                <a:lnTo>
                  <a:pt x="5460" y="5431"/>
                </a:lnTo>
                <a:lnTo>
                  <a:pt x="5471" y="5436"/>
                </a:lnTo>
                <a:lnTo>
                  <a:pt x="5476" y="5440"/>
                </a:lnTo>
                <a:lnTo>
                  <a:pt x="5482" y="5444"/>
                </a:lnTo>
                <a:lnTo>
                  <a:pt x="5487" y="5449"/>
                </a:lnTo>
                <a:lnTo>
                  <a:pt x="5491" y="5454"/>
                </a:lnTo>
                <a:lnTo>
                  <a:pt x="5495" y="5461"/>
                </a:lnTo>
                <a:lnTo>
                  <a:pt x="5499" y="5469"/>
                </a:lnTo>
                <a:lnTo>
                  <a:pt x="5502" y="5476"/>
                </a:lnTo>
                <a:lnTo>
                  <a:pt x="5506" y="5485"/>
                </a:lnTo>
                <a:lnTo>
                  <a:pt x="5511" y="5505"/>
                </a:lnTo>
                <a:lnTo>
                  <a:pt x="5517" y="5527"/>
                </a:lnTo>
                <a:lnTo>
                  <a:pt x="5521" y="5554"/>
                </a:lnTo>
                <a:lnTo>
                  <a:pt x="5525" y="5584"/>
                </a:lnTo>
                <a:lnTo>
                  <a:pt x="5526" y="5600"/>
                </a:lnTo>
                <a:lnTo>
                  <a:pt x="5527" y="5618"/>
                </a:lnTo>
                <a:lnTo>
                  <a:pt x="5528" y="5637"/>
                </a:lnTo>
                <a:lnTo>
                  <a:pt x="5529" y="5656"/>
                </a:lnTo>
                <a:lnTo>
                  <a:pt x="5530" y="5676"/>
                </a:lnTo>
                <a:lnTo>
                  <a:pt x="5530" y="5697"/>
                </a:lnTo>
                <a:lnTo>
                  <a:pt x="5530" y="5720"/>
                </a:lnTo>
                <a:lnTo>
                  <a:pt x="5530" y="5744"/>
                </a:lnTo>
                <a:close/>
              </a:path>
            </a:pathLst>
          </a:custGeom>
          <a:solidFill>
            <a:srgbClr val="1B8A0A"/>
          </a:solidFill>
          <a:ln>
            <a:noFill/>
          </a:ln>
          <a:effectLst>
            <a:outerShdw blurRad="50800" dist="38100" dir="5400000" algn="t" rotWithShape="0">
              <a:srgbClr val="000000">
                <a:alpha val="25000"/>
              </a:srgbClr>
            </a:outerShdw>
          </a:effectLst>
          <a:extLst/>
        </p:spPr>
        <p:txBody>
          <a:bodyPr anchor="ctr"/>
          <a:lstStyle/>
          <a:p>
            <a:endParaRPr lang="en-US"/>
          </a:p>
        </p:txBody>
      </p:sp>
      <p:sp>
        <p:nvSpPr>
          <p:cNvPr id="15" name="Rectangle 4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783413" y="4481256"/>
            <a:ext cx="234898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fr-FR" b="1" dirty="0" err="1" smtClean="0">
                <a:solidFill>
                  <a:schemeClr val="tx2">
                    <a:lumMod val="75000"/>
                  </a:schemeClr>
                </a:solidFill>
                <a:latin typeface="Calibri" charset="0"/>
              </a:rPr>
              <a:t>Load</a:t>
            </a:r>
            <a:endParaRPr lang="fr-FR" b="1" dirty="0" smtClean="0">
              <a:solidFill>
                <a:schemeClr val="tx2">
                  <a:lumMod val="75000"/>
                </a:schemeClr>
              </a:solidFill>
              <a:latin typeface="Calibri" charset="0"/>
            </a:endParaRPr>
          </a:p>
        </p:txBody>
      </p:sp>
      <p:grpSp>
        <p:nvGrpSpPr>
          <p:cNvPr id="17" name="Group 125"/>
          <p:cNvGrpSpPr>
            <a:grpSpLocks/>
          </p:cNvGrpSpPr>
          <p:nvPr/>
        </p:nvGrpSpPr>
        <p:grpSpPr bwMode="auto">
          <a:xfrm>
            <a:off x="2105025" y="2913063"/>
            <a:ext cx="466725" cy="457200"/>
            <a:chOff x="2104845" y="2913462"/>
            <a:chExt cx="467540" cy="457200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2104845" y="2913462"/>
              <a:ext cx="0" cy="4572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  <a:alpha val="4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2104845" y="3370662"/>
              <a:ext cx="467540" cy="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  <a:alpha val="4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26"/>
          <p:cNvGrpSpPr>
            <a:grpSpLocks/>
          </p:cNvGrpSpPr>
          <p:nvPr/>
        </p:nvGrpSpPr>
        <p:grpSpPr bwMode="auto">
          <a:xfrm>
            <a:off x="3700463" y="4314825"/>
            <a:ext cx="468312" cy="457200"/>
            <a:chOff x="2104845" y="2913462"/>
            <a:chExt cx="467540" cy="457200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2104845" y="2913462"/>
              <a:ext cx="0" cy="45720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  <a:alpha val="4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2104845" y="3370662"/>
              <a:ext cx="467540" cy="0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  <a:alpha val="4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Referentiel</a:t>
            </a:r>
            <a:r>
              <a:rPr lang="en-US" dirty="0" smtClean="0"/>
              <a:t> des </a:t>
            </a:r>
            <a:r>
              <a:rPr lang="en-US" dirty="0" err="1" smtClean="0"/>
              <a:t>exigence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31" name="Footer Placeholder 3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5</a:t>
            </a:fld>
            <a:r>
              <a:rPr lang="en-US" smtClean="0"/>
              <a:t>|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259" y="4844792"/>
            <a:ext cx="1331292" cy="737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à coins arrondis 22"/>
          <p:cNvSpPr/>
          <p:nvPr/>
        </p:nvSpPr>
        <p:spPr>
          <a:xfrm>
            <a:off x="6213179" y="4778269"/>
            <a:ext cx="1489451" cy="870208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34356"/>
            <a:ext cx="9143999" cy="5820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5848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Replace this text</a:t>
            </a:r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19CF00-AE30-45AC-A0F3-222CEA30FB4A}" type="slidenum">
              <a:rPr lang="da-DK" smtClean="0"/>
              <a:pPr>
                <a:defRPr/>
              </a:pPr>
              <a:t>6</a:t>
            </a:fld>
            <a:endParaRPr lang="da-DK"/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80988" y="2705100"/>
            <a:ext cx="8647112" cy="2241550"/>
          </a:xfrm>
          <a:prstGeom prst="rect">
            <a:avLst/>
          </a:prstGeom>
          <a:solidFill>
            <a:schemeClr val="bg1"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53" name="Rounded Rectangle 52"/>
          <p:cNvSpPr/>
          <p:nvPr/>
        </p:nvSpPr>
        <p:spPr bwMode="auto">
          <a:xfrm>
            <a:off x="1935863" y="2310507"/>
            <a:ext cx="3824829" cy="3265102"/>
          </a:xfrm>
          <a:prstGeom prst="roundRect">
            <a:avLst>
              <a:gd name="adj" fmla="val 3730"/>
            </a:avLst>
          </a:prstGeom>
          <a:solidFill>
            <a:schemeClr val="bg1">
              <a:lumMod val="95000"/>
              <a:alpha val="88000"/>
            </a:schemeClr>
          </a:solidFill>
          <a:ln>
            <a:noFill/>
          </a:ln>
          <a:effectLst>
            <a:innerShdw blurRad="63500">
              <a:prstClr val="black">
                <a:alpha val="4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4" name="Rectangle 6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31371" y="3150437"/>
            <a:ext cx="23181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sz="1200" noProof="1">
              <a:solidFill>
                <a:srgbClr val="404040"/>
              </a:solidFill>
              <a:latin typeface="Calibri" charset="0"/>
              <a:cs typeface="Arial" charset="0"/>
            </a:endParaRPr>
          </a:p>
        </p:txBody>
      </p:sp>
      <p:grpSp>
        <p:nvGrpSpPr>
          <p:cNvPr id="55" name="Group 69"/>
          <p:cNvGrpSpPr>
            <a:grpSpLocks/>
          </p:cNvGrpSpPr>
          <p:nvPr/>
        </p:nvGrpSpPr>
        <p:grpSpPr bwMode="auto">
          <a:xfrm>
            <a:off x="3292743" y="1278315"/>
            <a:ext cx="3572485" cy="523875"/>
            <a:chOff x="2113750" y="2277353"/>
            <a:chExt cx="2871431" cy="559186"/>
          </a:xfrm>
        </p:grpSpPr>
        <p:grpSp>
          <p:nvGrpSpPr>
            <p:cNvPr id="56" name="Group 70"/>
            <p:cNvGrpSpPr>
              <a:grpSpLocks/>
            </p:cNvGrpSpPr>
            <p:nvPr/>
          </p:nvGrpSpPr>
          <p:grpSpPr bwMode="auto">
            <a:xfrm>
              <a:off x="2113750" y="2277353"/>
              <a:ext cx="2871431" cy="559186"/>
              <a:chOff x="1431350" y="2277353"/>
              <a:chExt cx="2871431" cy="559186"/>
            </a:xfrm>
          </p:grpSpPr>
          <p:sp>
            <p:nvSpPr>
              <p:cNvPr id="59" name="Rounded Rectangle 39"/>
              <p:cNvSpPr/>
              <p:nvPr/>
            </p:nvSpPr>
            <p:spPr>
              <a:xfrm>
                <a:off x="1431350" y="2277353"/>
                <a:ext cx="2871431" cy="223674"/>
              </a:xfrm>
              <a:custGeom>
                <a:avLst/>
                <a:gdLst/>
                <a:ahLst/>
                <a:cxnLst/>
                <a:rect l="l" t="t" r="r" b="b"/>
                <a:pathLst>
                  <a:path w="2871189" h="224203">
                    <a:moveTo>
                      <a:pt x="74736" y="0"/>
                    </a:moveTo>
                    <a:lnTo>
                      <a:pt x="2796453" y="0"/>
                    </a:lnTo>
                    <a:cubicBezTo>
                      <a:pt x="2837729" y="0"/>
                      <a:pt x="2871189" y="33460"/>
                      <a:pt x="2871189" y="74736"/>
                    </a:cubicBezTo>
                    <a:lnTo>
                      <a:pt x="2871189" y="224203"/>
                    </a:lnTo>
                    <a:lnTo>
                      <a:pt x="0" y="224203"/>
                    </a:lnTo>
                    <a:lnTo>
                      <a:pt x="0" y="74736"/>
                    </a:lnTo>
                    <a:cubicBezTo>
                      <a:pt x="0" y="33460"/>
                      <a:pt x="33460" y="0"/>
                      <a:pt x="74736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60" name="Rectangle 33"/>
              <p:cNvSpPr/>
              <p:nvPr/>
            </p:nvSpPr>
            <p:spPr>
              <a:xfrm>
                <a:off x="1505889" y="2277353"/>
                <a:ext cx="2742683" cy="559186"/>
              </a:xfrm>
              <a:custGeom>
                <a:avLst/>
                <a:gdLst>
                  <a:gd name="connsiteX0" fmla="*/ 0 w 3423124"/>
                  <a:gd name="connsiteY0" fmla="*/ 0 h 1644010"/>
                  <a:gd name="connsiteX1" fmla="*/ 3423124 w 3423124"/>
                  <a:gd name="connsiteY1" fmla="*/ 0 h 1644010"/>
                  <a:gd name="connsiteX2" fmla="*/ 3423124 w 3423124"/>
                  <a:gd name="connsiteY2" fmla="*/ 12408 h 1644010"/>
                  <a:gd name="connsiteX3" fmla="*/ 3289774 w 3423124"/>
                  <a:gd name="connsiteY3" fmla="*/ 193370 h 1644010"/>
                  <a:gd name="connsiteX4" fmla="*/ 3289774 w 3423124"/>
                  <a:gd name="connsiteY4" fmla="*/ 1467644 h 1644010"/>
                  <a:gd name="connsiteX5" fmla="*/ 3289287 w 3423124"/>
                  <a:gd name="connsiteY5" fmla="*/ 1467644 h 1644010"/>
                  <a:gd name="connsiteX6" fmla="*/ 3289287 w 3423124"/>
                  <a:gd name="connsiteY6" fmla="*/ 1552359 h 1644010"/>
                  <a:gd name="connsiteX7" fmla="*/ 3197636 w 3423124"/>
                  <a:gd name="connsiteY7" fmla="*/ 1644010 h 1644010"/>
                  <a:gd name="connsiteX8" fmla="*/ 212789 w 3423124"/>
                  <a:gd name="connsiteY8" fmla="*/ 1644010 h 1644010"/>
                  <a:gd name="connsiteX9" fmla="*/ 121138 w 3423124"/>
                  <a:gd name="connsiteY9" fmla="*/ 1552359 h 1644010"/>
                  <a:gd name="connsiteX10" fmla="*/ 121138 w 3423124"/>
                  <a:gd name="connsiteY10" fmla="*/ 268313 h 1644010"/>
                  <a:gd name="connsiteX11" fmla="*/ 124613 w 3423124"/>
                  <a:gd name="connsiteY11" fmla="*/ 190711 h 1644010"/>
                  <a:gd name="connsiteX12" fmla="*/ 0 w 3423124"/>
                  <a:gd name="connsiteY12" fmla="*/ 12461 h 1644010"/>
                  <a:gd name="connsiteX13" fmla="*/ 0 w 3423124"/>
                  <a:gd name="connsiteY13" fmla="*/ 0 h 1644010"/>
                  <a:gd name="connsiteX0" fmla="*/ 0 w 3423124"/>
                  <a:gd name="connsiteY0" fmla="*/ 0 h 1644010"/>
                  <a:gd name="connsiteX1" fmla="*/ 3423124 w 3423124"/>
                  <a:gd name="connsiteY1" fmla="*/ 0 h 1644010"/>
                  <a:gd name="connsiteX2" fmla="*/ 3423124 w 3423124"/>
                  <a:gd name="connsiteY2" fmla="*/ 12408 h 1644010"/>
                  <a:gd name="connsiteX3" fmla="*/ 3289774 w 3423124"/>
                  <a:gd name="connsiteY3" fmla="*/ 193370 h 1644010"/>
                  <a:gd name="connsiteX4" fmla="*/ 3289774 w 3423124"/>
                  <a:gd name="connsiteY4" fmla="*/ 1467644 h 1644010"/>
                  <a:gd name="connsiteX5" fmla="*/ 3289287 w 3423124"/>
                  <a:gd name="connsiteY5" fmla="*/ 1467644 h 1644010"/>
                  <a:gd name="connsiteX6" fmla="*/ 3289287 w 3423124"/>
                  <a:gd name="connsiteY6" fmla="*/ 1552359 h 1644010"/>
                  <a:gd name="connsiteX7" fmla="*/ 3197636 w 3423124"/>
                  <a:gd name="connsiteY7" fmla="*/ 1644010 h 1644010"/>
                  <a:gd name="connsiteX8" fmla="*/ 212789 w 3423124"/>
                  <a:gd name="connsiteY8" fmla="*/ 1644010 h 1644010"/>
                  <a:gd name="connsiteX9" fmla="*/ 121138 w 3423124"/>
                  <a:gd name="connsiteY9" fmla="*/ 1552359 h 1644010"/>
                  <a:gd name="connsiteX10" fmla="*/ 124613 w 3423124"/>
                  <a:gd name="connsiteY10" fmla="*/ 190711 h 1644010"/>
                  <a:gd name="connsiteX11" fmla="*/ 0 w 3423124"/>
                  <a:gd name="connsiteY11" fmla="*/ 12461 h 1644010"/>
                  <a:gd name="connsiteX12" fmla="*/ 0 w 3423124"/>
                  <a:gd name="connsiteY12" fmla="*/ 0 h 164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423124" h="1644010">
                    <a:moveTo>
                      <a:pt x="0" y="0"/>
                    </a:moveTo>
                    <a:lnTo>
                      <a:pt x="3423124" y="0"/>
                    </a:lnTo>
                    <a:lnTo>
                      <a:pt x="3423124" y="12408"/>
                    </a:lnTo>
                    <a:cubicBezTo>
                      <a:pt x="3345692" y="35958"/>
                      <a:pt x="3289774" y="108134"/>
                      <a:pt x="3289774" y="193370"/>
                    </a:cubicBezTo>
                    <a:lnTo>
                      <a:pt x="3289774" y="1467644"/>
                    </a:lnTo>
                    <a:lnTo>
                      <a:pt x="3289287" y="1467644"/>
                    </a:lnTo>
                    <a:lnTo>
                      <a:pt x="3289287" y="1552359"/>
                    </a:lnTo>
                    <a:cubicBezTo>
                      <a:pt x="3289287" y="1602976"/>
                      <a:pt x="3248253" y="1644010"/>
                      <a:pt x="3197636" y="1644010"/>
                    </a:cubicBezTo>
                    <a:lnTo>
                      <a:pt x="212789" y="1644010"/>
                    </a:lnTo>
                    <a:cubicBezTo>
                      <a:pt x="162172" y="1644010"/>
                      <a:pt x="121138" y="1602976"/>
                      <a:pt x="121138" y="1552359"/>
                    </a:cubicBezTo>
                    <a:cubicBezTo>
                      <a:pt x="122296" y="1098476"/>
                      <a:pt x="123455" y="644594"/>
                      <a:pt x="124613" y="190711"/>
                    </a:cubicBezTo>
                    <a:cubicBezTo>
                      <a:pt x="124613" y="108707"/>
                      <a:pt x="72856" y="38792"/>
                      <a:pt x="0" y="1246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>
                  <a:defRPr/>
                </a:pPr>
                <a:endParaRPr lang="en-US" dirty="0"/>
              </a:p>
            </p:txBody>
          </p:sp>
        </p:grpSp>
        <p:cxnSp>
          <p:nvCxnSpPr>
            <p:cNvPr id="57" name="Straight Connector 56"/>
            <p:cNvCxnSpPr/>
            <p:nvPr/>
          </p:nvCxnSpPr>
          <p:spPr>
            <a:xfrm>
              <a:off x="2405128" y="2790787"/>
              <a:ext cx="2309004" cy="0"/>
            </a:xfrm>
            <a:prstGeom prst="line">
              <a:avLst/>
            </a:prstGeom>
            <a:ln w="15875">
              <a:solidFill>
                <a:schemeClr val="bg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2574534" y="2316326"/>
              <a:ext cx="2205027" cy="42707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fr-FR" sz="2000" b="1" dirty="0" err="1" smtClean="0">
                  <a:solidFill>
                    <a:schemeClr val="bg1"/>
                  </a:solidFill>
                  <a:latin typeface="+mj-lt"/>
                  <a:ea typeface="MS PGothic" pitchFamily="34" charset="-128"/>
                </a:rPr>
                <a:t>Referentiel</a:t>
              </a:r>
              <a:r>
                <a:rPr lang="fr-FR" sz="2000" b="1" dirty="0" smtClean="0">
                  <a:solidFill>
                    <a:schemeClr val="bg1"/>
                  </a:solidFill>
                  <a:latin typeface="+mj-lt"/>
                  <a:ea typeface="MS PGothic" pitchFamily="34" charset="-128"/>
                </a:rPr>
                <a:t> des exigences</a:t>
              </a:r>
              <a:endParaRPr lang="en-US" sz="2000" b="1" dirty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Contexte</a:t>
            </a:r>
            <a:r>
              <a:rPr lang="en-US" dirty="0" smtClean="0"/>
              <a:t> du </a:t>
            </a:r>
            <a:r>
              <a:rPr lang="en-US" dirty="0" err="1" smtClean="0"/>
              <a:t>Proje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019" y="2948161"/>
            <a:ext cx="3400516" cy="1486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9" y="0"/>
            <a:ext cx="9115689" cy="6902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39059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lide Number Placeholder 3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19CF00-AE30-45AC-A0F3-222CEA30FB4A}" type="slidenum">
              <a:rPr lang="da-DK" smtClean="0"/>
              <a:pPr>
                <a:defRPr/>
              </a:pPr>
              <a:t>7</a:t>
            </a:fld>
            <a:endParaRPr lang="da-DK"/>
          </a:p>
        </p:txBody>
      </p:sp>
      <p:sp>
        <p:nvSpPr>
          <p:cNvPr id="34" name="Rectangle 3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0988" y="2033588"/>
            <a:ext cx="8647112" cy="592137"/>
          </a:xfrm>
          <a:prstGeom prst="rect">
            <a:avLst/>
          </a:prstGeom>
          <a:solidFill>
            <a:schemeClr val="bg1">
              <a:alpha val="3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fr-FR" dirty="0" smtClean="0"/>
              <a:t>Estimation des Charg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9085"/>
            <a:ext cx="9144000" cy="529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4335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i_lTdPmUuKtRSrFFxa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gfI5o.UydbSn4ICc4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sXYlIWX0.nrCtkTJrR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HhPR3AoUK3Fz2SxGbP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7B4z1snkiSsbmquMOn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KaILbHYEOwf3PEh3Z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gfI5o.UydbSn4ICc4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sXYlIWX0.nrCtkTJrR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LDs.SXD02mi4P6pm21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6cKwfs2Uac2QzYvNzn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UbX7AUAE6x79FlDbGZ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ezUfXodECErDmrI9nO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aMJQLo0a_fCFF38CZ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uTHooZEEaoVGNrDAj2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I3mXfVrUKroupwIgx.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vyA5SJvEGhiEWW9Flui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34</TotalTime>
  <Words>110</Words>
  <Application>Microsoft Office PowerPoint</Application>
  <PresentationFormat>Affichage à l'écran (4:3)</PresentationFormat>
  <Paragraphs>47</Paragraphs>
  <Slides>7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8" baseType="lpstr">
      <vt:lpstr>Office Theme</vt:lpstr>
      <vt:lpstr>Présentation PowerPoint</vt:lpstr>
      <vt:lpstr>Plan de Présentation</vt:lpstr>
      <vt:lpstr>Contexte du Projet</vt:lpstr>
      <vt:lpstr>Contexte du Projet</vt:lpstr>
      <vt:lpstr>Referentiel des exigences.</vt:lpstr>
      <vt:lpstr>Contexte du Projet</vt:lpstr>
      <vt:lpstr>Estimation des Charges</vt:lpstr>
    </vt:vector>
  </TitlesOfParts>
  <Company>Pahlawan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us Purwanto</dc:creator>
  <cp:lastModifiedBy>Ayman</cp:lastModifiedBy>
  <cp:revision>227</cp:revision>
  <dcterms:created xsi:type="dcterms:W3CDTF">2013-10-31T11:03:13Z</dcterms:created>
  <dcterms:modified xsi:type="dcterms:W3CDTF">2015-10-22T17:18:13Z</dcterms:modified>
</cp:coreProperties>
</file>